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57.xml" ContentType="application/vnd.openxmlformats-officedocument.presentationml.slideLayout+xml"/>
  <Override PartName="/ppt/tags/tag104.xml" ContentType="application/vnd.openxmlformats-officedocument.presentationml.tags+xml"/>
  <Override PartName="/ppt/theme/theme5.xml" ContentType="application/vnd.openxmlformats-officedocument.theme+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60.xml" ContentType="application/vnd.openxmlformats-officedocument.presentationml.slideLayout+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notesSlides/notesSlide7.xml" ContentType="application/vnd.openxmlformats-officedocument.presentationml.notes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Override PartName="/ppt/tags/tag101.xml" ContentType="application/vnd.openxmlformats-officedocument.presentationml.tags+xml"/>
  <Override PartName="/ppt/slides/slide33.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charts/chart4.xml" ContentType="application/vnd.openxmlformats-officedocument.drawingml.chart+xml"/>
  <Override PartName="/ppt/tags/tag20.xml" ContentType="application/vnd.openxmlformats-officedocument.presentationml.tags+xml"/>
  <Override PartName="/ppt/slideLayouts/slideLayout59.xml" ContentType="application/vnd.openxmlformats-officedocument.presentationml.slideLayout+xml"/>
  <Override PartName="/ppt/notesSlides/notesSlide4.xml" ContentType="application/vnd.openxmlformats-officedocument.presentationml.notesSlide+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slideLayouts/slideLayout62.xml" ContentType="application/vnd.openxmlformats-officedocument.presentationml.slideLayout+xml"/>
  <Override PartName="/ppt/theme/themeOverride3.xml" ContentType="application/vnd.openxmlformats-officedocument.themeOverride+xml"/>
  <Override PartName="/ppt/charts/colors4.xml" ContentType="application/vnd.ms-office.chartcolorstyl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charts/style3.xml" ContentType="application/vnd.ms-office.chartstyle+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99.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theme/themeOverride4.xml" ContentType="application/vnd.openxmlformats-officedocument.themeOverride+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charts/colors1.xml" ContentType="application/vnd.ms-office.chartcolorstyl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charts/chart2.xml" ContentType="application/vnd.openxmlformats-officedocument.drawingml.chart+xml"/>
  <Override PartName="/ppt/charts/style4.xml" ContentType="application/vnd.ms-office.chartstyle+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89.xml" ContentType="application/vnd.openxmlformats-officedocument.presentationml.tags+xml"/>
  <Override PartName="/ppt/slideLayouts/slideLayout64.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charts/style1.xml" ContentType="application/vnd.ms-office.chartstyle+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heme/themeOverride2.xml" ContentType="application/vnd.openxmlformats-officedocument.themeOverr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7" r:id="rId2"/>
    <p:sldMasterId id="2147483708" r:id="rId3"/>
    <p:sldMasterId id="2147483734" r:id="rId4"/>
  </p:sldMasterIdLst>
  <p:notesMasterIdLst>
    <p:notesMasterId r:id="rId40"/>
  </p:notesMasterIdLst>
  <p:sldIdLst>
    <p:sldId id="256" r:id="rId5"/>
    <p:sldId id="2141412260" r:id="rId6"/>
    <p:sldId id="2225" r:id="rId7"/>
    <p:sldId id="2242" r:id="rId8"/>
    <p:sldId id="2241" r:id="rId9"/>
    <p:sldId id="2268" r:id="rId10"/>
    <p:sldId id="2263" r:id="rId11"/>
    <p:sldId id="2213" r:id="rId12"/>
    <p:sldId id="2216" r:id="rId13"/>
    <p:sldId id="294" r:id="rId14"/>
    <p:sldId id="2312" r:id="rId15"/>
    <p:sldId id="2311" r:id="rId16"/>
    <p:sldId id="443" r:id="rId17"/>
    <p:sldId id="2251" r:id="rId18"/>
    <p:sldId id="2141412258" r:id="rId19"/>
    <p:sldId id="269" r:id="rId20"/>
    <p:sldId id="271" r:id="rId21"/>
    <p:sldId id="283" r:id="rId22"/>
    <p:sldId id="2141412249" r:id="rId23"/>
    <p:sldId id="2141412247" r:id="rId24"/>
    <p:sldId id="2317" r:id="rId25"/>
    <p:sldId id="2141412248" r:id="rId26"/>
    <p:sldId id="1058" r:id="rId27"/>
    <p:sldId id="2141412256" r:id="rId28"/>
    <p:sldId id="500" r:id="rId29"/>
    <p:sldId id="2141412252" r:id="rId30"/>
    <p:sldId id="549" r:id="rId31"/>
    <p:sldId id="2141412254" r:id="rId32"/>
    <p:sldId id="3623" r:id="rId33"/>
    <p:sldId id="3624" r:id="rId34"/>
    <p:sldId id="3642" r:id="rId35"/>
    <p:sldId id="2141412255" r:id="rId36"/>
    <p:sldId id="2141412251" r:id="rId37"/>
    <p:sldId id="2141412257" r:id="rId38"/>
    <p:sldId id="2141412198" r:id="rId39"/>
  </p:sldIdLst>
  <p:sldSz cx="12192000" cy="6858000"/>
  <p:notesSz cx="9363075" cy="7077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880">
          <p15:clr>
            <a:srgbClr val="A4A3A4"/>
          </p15:clr>
        </p15:guide>
        <p15:guide id="2" pos="21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cus rance" initials="mr" lastIdx="16" clrIdx="0">
    <p:extLst>
      <p:ext uri="{19B8F6BF-5375-455C-9EA6-DF929625EA0E}">
        <p15:presenceInfo xmlns:p15="http://schemas.microsoft.com/office/powerpoint/2012/main" xmlns="" userId="80b085350ee1b174" providerId="Windows Live"/>
      </p:ext>
    </p:extLst>
  </p:cmAuthor>
  <p:cmAuthor id="2" name="Hilton R Arendse" initials="HRA" lastIdx="1" clrIdx="1">
    <p:extLst>
      <p:ext uri="{19B8F6BF-5375-455C-9EA6-DF929625EA0E}">
        <p15:presenceInfo xmlns:p15="http://schemas.microsoft.com/office/powerpoint/2012/main" xmlns="" userId="S::Hilton.Arendse@westerncape.gov.za::1b404d0b-0af9-42d3-b3e8-1468f17880e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9EDF4"/>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750" autoAdjust="0"/>
    <p:restoredTop sz="94640"/>
  </p:normalViewPr>
  <p:slideViewPr>
    <p:cSldViewPr>
      <p:cViewPr varScale="1">
        <p:scale>
          <a:sx n="68" d="100"/>
          <a:sy n="68" d="100"/>
        </p:scale>
        <p:origin x="-870" y="-96"/>
      </p:cViewPr>
      <p:guideLst>
        <p:guide orient="horz" pos="2880"/>
        <p:guide pos="2160"/>
      </p:guideLst>
    </p:cSldViewPr>
  </p:slideViewPr>
  <p:notesTextViewPr>
    <p:cViewPr>
      <p:scale>
        <a:sx n="100" d="100"/>
        <a:sy n="100" d="100"/>
      </p:scale>
      <p:origin x="0" y="0"/>
    </p:cViewPr>
  </p:notesTextViewPr>
  <p:sorterViewPr>
    <p:cViewPr>
      <p:scale>
        <a:sx n="1" d="1"/>
        <a:sy n="1" d="1"/>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 Id="rId4" Type="http://schemas.microsoft.com/office/2011/relationships/chartStyle" Target="style1.xm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package" Target="../embeddings/Microsoft_Office_Excel_Worksheet2.xlsx"/><Relationship Id="rId1" Type="http://schemas.openxmlformats.org/officeDocument/2006/relationships/themeOverride" Target="../theme/themeOverride2.xml"/><Relationship Id="rId4" Type="http://schemas.microsoft.com/office/2011/relationships/chartStyle" Target="style2.xm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 Id="rId4" Type="http://schemas.microsoft.com/office/2011/relationships/chartStyle" Target="style3.xm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openxmlformats.org/officeDocument/2006/relationships/package" Target="../embeddings/Microsoft_Office_Excel_Worksheet4.xlsx"/><Relationship Id="rId1" Type="http://schemas.openxmlformats.org/officeDocument/2006/relationships/themeOverride" Target="../theme/themeOverride4.xml"/><Relationship Id="rId4"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056866499646693E-2"/>
          <c:y val="0.13522157996146436"/>
          <c:w val="0.97338172765163089"/>
          <c:h val="0.66099585817668782"/>
        </c:manualLayout>
      </c:layout>
      <c:barChart>
        <c:barDir val="col"/>
        <c:grouping val="clustered"/>
        <c:ser>
          <c:idx val="0"/>
          <c:order val="0"/>
          <c:spPr>
            <a:solidFill>
              <a:srgbClr val="C8187D"/>
            </a:solidFill>
            <a:ln>
              <a:noFill/>
            </a:ln>
            <a:effectLst/>
          </c:spPr>
          <c:dPt>
            <c:idx val="1"/>
            <c:spPr>
              <a:solidFill>
                <a:srgbClr val="273C88"/>
              </a:solidFill>
              <a:ln>
                <a:noFill/>
              </a:ln>
              <a:effectLst/>
            </c:spPr>
            <c:extLst xmlns:c16r2="http://schemas.microsoft.com/office/drawing/2015/06/chart">
              <c:ext xmlns:c16="http://schemas.microsoft.com/office/drawing/2014/chart" uri="{C3380CC4-5D6E-409C-BE32-E72D297353CC}">
                <c16:uniqueId val="{00000001-EA24-42AF-9AE8-8526E60A3DB7}"/>
              </c:ext>
            </c:extLst>
          </c:dPt>
          <c:dPt>
            <c:idx val="3"/>
            <c:spPr>
              <a:solidFill>
                <a:srgbClr val="273C88"/>
              </a:solidFill>
              <a:ln>
                <a:noFill/>
              </a:ln>
              <a:effectLst/>
            </c:spPr>
            <c:extLst xmlns:c16r2="http://schemas.microsoft.com/office/drawing/2015/06/chart">
              <c:ext xmlns:c16="http://schemas.microsoft.com/office/drawing/2014/chart" uri="{C3380CC4-5D6E-409C-BE32-E72D297353CC}">
                <c16:uniqueId val="{00000003-EA24-42AF-9AE8-8526E60A3DB7}"/>
              </c:ext>
            </c:extLst>
          </c:dPt>
          <c:dPt>
            <c:idx val="5"/>
            <c:spPr>
              <a:solidFill>
                <a:srgbClr val="273C88"/>
              </a:solidFill>
              <a:ln>
                <a:noFill/>
              </a:ln>
              <a:effectLst/>
            </c:spPr>
            <c:extLst xmlns:c16r2="http://schemas.microsoft.com/office/drawing/2015/06/chart">
              <c:ext xmlns:c16="http://schemas.microsoft.com/office/drawing/2014/chart" uri="{C3380CC4-5D6E-409C-BE32-E72D297353CC}">
                <c16:uniqueId val="{00000005-EA24-42AF-9AE8-8526E60A3DB7}"/>
              </c:ext>
            </c:extLst>
          </c:dPt>
          <c:dPt>
            <c:idx val="8"/>
            <c:spPr>
              <a:solidFill>
                <a:srgbClr val="273C88"/>
              </a:solidFill>
              <a:ln>
                <a:noFill/>
              </a:ln>
              <a:effectLst/>
            </c:spPr>
            <c:extLst xmlns:c16r2="http://schemas.microsoft.com/office/drawing/2015/06/chart">
              <c:ext xmlns:c16="http://schemas.microsoft.com/office/drawing/2014/chart" uri="{C3380CC4-5D6E-409C-BE32-E72D297353CC}">
                <c16:uniqueId val="{00000007-EA24-42AF-9AE8-8526E60A3DB7}"/>
              </c:ext>
            </c:extLst>
          </c:dPt>
          <c:dPt>
            <c:idx val="10"/>
            <c:spPr>
              <a:solidFill>
                <a:srgbClr val="273C88"/>
              </a:solidFill>
              <a:ln>
                <a:noFill/>
              </a:ln>
              <a:effectLst/>
            </c:spPr>
            <c:extLst xmlns:c16r2="http://schemas.microsoft.com/office/drawing/2015/06/chart">
              <c:ext xmlns:c16="http://schemas.microsoft.com/office/drawing/2014/chart" uri="{C3380CC4-5D6E-409C-BE32-E72D297353CC}">
                <c16:uniqueId val="{00000009-EA24-42AF-9AE8-8526E60A3DB7}"/>
              </c:ext>
            </c:extLst>
          </c:dPt>
          <c:dPt>
            <c:idx val="12"/>
            <c:spPr>
              <a:solidFill>
                <a:srgbClr val="273C88"/>
              </a:solidFill>
              <a:ln>
                <a:solidFill>
                  <a:srgbClr val="273C88"/>
                </a:solidFill>
              </a:ln>
              <a:effectLst/>
            </c:spPr>
            <c:extLst xmlns:c16r2="http://schemas.microsoft.com/office/drawing/2015/06/chart">
              <c:ext xmlns:c16="http://schemas.microsoft.com/office/drawing/2014/chart" uri="{C3380CC4-5D6E-409C-BE32-E72D297353CC}">
                <c16:uniqueId val="{0000000B-EA24-42AF-9AE8-8526E60A3DB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New VS Returning Subscribers YR'!$I$19:$J$31</c:f>
              <c:multiLvlStrCache>
                <c:ptCount val="13"/>
                <c:lvl>
                  <c:pt idx="0">
                    <c:v>New Subscriber</c:v>
                  </c:pt>
                  <c:pt idx="1">
                    <c:v>Returning Subscriber</c:v>
                  </c:pt>
                  <c:pt idx="2">
                    <c:v>New Subscriber</c:v>
                  </c:pt>
                  <c:pt idx="3">
                    <c:v>Returning Subscriber</c:v>
                  </c:pt>
                  <c:pt idx="4">
                    <c:v>New Subscriber</c:v>
                  </c:pt>
                  <c:pt idx="5">
                    <c:v>Returning Subscriber</c:v>
                  </c:pt>
                  <c:pt idx="6">
                    <c:v>New Subscriber</c:v>
                  </c:pt>
                  <c:pt idx="7">
                    <c:v>New Subscriber</c:v>
                  </c:pt>
                  <c:pt idx="8">
                    <c:v>Returning Subscriber</c:v>
                  </c:pt>
                  <c:pt idx="9">
                    <c:v>New Subscriber</c:v>
                  </c:pt>
                  <c:pt idx="10">
                    <c:v>Returning Subscriber</c:v>
                  </c:pt>
                  <c:pt idx="11">
                    <c:v>New Subscriber</c:v>
                  </c:pt>
                  <c:pt idx="12">
                    <c:v>Returning Subscriber</c:v>
                  </c:pt>
                </c:lvl>
                <c:lvl>
                  <c:pt idx="0">
                    <c:v>October</c:v>
                  </c:pt>
                  <c:pt idx="2">
                    <c:v>November</c:v>
                  </c:pt>
                  <c:pt idx="4">
                    <c:v>December</c:v>
                  </c:pt>
                  <c:pt idx="6">
                    <c:v>January</c:v>
                  </c:pt>
                  <c:pt idx="7">
                    <c:v>February</c:v>
                  </c:pt>
                  <c:pt idx="9">
                    <c:v>March</c:v>
                  </c:pt>
                  <c:pt idx="11">
                    <c:v>April</c:v>
                  </c:pt>
                </c:lvl>
              </c:multiLvlStrCache>
              <c:extLst xmlns:c16r2="http://schemas.microsoft.com/office/drawing/2015/06/chart"/>
            </c:multiLvlStrRef>
          </c:cat>
          <c:val>
            <c:numRef>
              <c:f>'New VS Returning Subscribers YR'!$K$19:$K$31</c:f>
              <c:numCache>
                <c:formatCode>General</c:formatCode>
                <c:ptCount val="13"/>
                <c:pt idx="0">
                  <c:v>83584</c:v>
                </c:pt>
                <c:pt idx="1">
                  <c:v>193105</c:v>
                </c:pt>
                <c:pt idx="2">
                  <c:v>81917</c:v>
                </c:pt>
                <c:pt idx="3">
                  <c:v>194670</c:v>
                </c:pt>
                <c:pt idx="4">
                  <c:v>78424</c:v>
                </c:pt>
                <c:pt idx="5">
                  <c:v>174573</c:v>
                </c:pt>
                <c:pt idx="6">
                  <c:v>285301</c:v>
                </c:pt>
                <c:pt idx="7">
                  <c:v>148299</c:v>
                </c:pt>
                <c:pt idx="8">
                  <c:v>143514</c:v>
                </c:pt>
                <c:pt idx="9">
                  <c:v>118751</c:v>
                </c:pt>
                <c:pt idx="10">
                  <c:v>174714</c:v>
                </c:pt>
                <c:pt idx="11">
                  <c:v>123787</c:v>
                </c:pt>
                <c:pt idx="12">
                  <c:v>185504</c:v>
                </c:pt>
              </c:numCache>
              <c:extLst xmlns:c16r2="http://schemas.microsoft.com/office/drawing/2015/06/chart"/>
            </c:numRef>
          </c:val>
          <c:extLst xmlns:c16r2="http://schemas.microsoft.com/office/drawing/2015/06/chart">
            <c:ext xmlns:c16="http://schemas.microsoft.com/office/drawing/2014/chart" uri="{C3380CC4-5D6E-409C-BE32-E72D297353CC}">
              <c16:uniqueId val="{0000000C-EA24-42AF-9AE8-8526E60A3DB7}"/>
            </c:ext>
          </c:extLst>
        </c:ser>
        <c:dLbls/>
        <c:gapWidth val="219"/>
        <c:overlap val="-27"/>
        <c:axId val="86614400"/>
        <c:axId val="86615936"/>
      </c:barChart>
      <c:catAx>
        <c:axId val="86614400"/>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15936"/>
        <c:crosses val="autoZero"/>
        <c:auto val="1"/>
        <c:lblAlgn val="ctr"/>
        <c:lblOffset val="100"/>
      </c:catAx>
      <c:valAx>
        <c:axId val="86615936"/>
        <c:scaling>
          <c:orientation val="minMax"/>
        </c:scaling>
        <c:delete val="1"/>
        <c:axPos val="l"/>
        <c:numFmt formatCode="General" sourceLinked="1"/>
        <c:majorTickMark val="none"/>
        <c:tickLblPos val="none"/>
        <c:crossAx val="86614400"/>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7839333926228574E-2"/>
          <c:y val="0.13347819434595565"/>
          <c:w val="0.94601665078106756"/>
          <c:h val="0.82457387592451759"/>
        </c:manualLayout>
      </c:layout>
      <c:barChart>
        <c:barDir val="col"/>
        <c:grouping val="stacked"/>
        <c:ser>
          <c:idx val="0"/>
          <c:order val="0"/>
          <c:tx>
            <c:strRef>
              <c:f>'Volume Usage (Monthly) (2)'!$B$1</c:f>
              <c:strCache>
                <c:ptCount val="1"/>
                <c:pt idx="0">
                  <c:v>Upload (GB)</c:v>
                </c:pt>
              </c:strCache>
            </c:strRef>
          </c:tx>
          <c:spPr>
            <a:solidFill>
              <a:schemeClr val="bg1">
                <a:lumMod val="75000"/>
              </a:schemeClr>
            </a:solidFill>
            <a:ln>
              <a:noFill/>
            </a:ln>
            <a:effectLst/>
          </c:spPr>
          <c:cat>
            <c:multiLvlStrRef>
              <c:f>'Volume Usage (Monthly) (2)'!$A$1:$D$32</c:f>
              <c:multiLvlStrCache>
                <c:ptCount val="31"/>
                <c:lvl>
                  <c:pt idx="0">
                    <c:v>Total (GB)</c:v>
                  </c:pt>
                  <c:pt idx="1">
                    <c:v>7680</c:v>
                  </c:pt>
                  <c:pt idx="2">
                    <c:v>6373.49</c:v>
                  </c:pt>
                  <c:pt idx="3">
                    <c:v>7006.73</c:v>
                  </c:pt>
                  <c:pt idx="4">
                    <c:v>7621.38</c:v>
                  </c:pt>
                  <c:pt idx="5">
                    <c:v>7466.71</c:v>
                  </c:pt>
                  <c:pt idx="6">
                    <c:v>7279.71</c:v>
                  </c:pt>
                  <c:pt idx="7">
                    <c:v>7581.02</c:v>
                  </c:pt>
                  <c:pt idx="8">
                    <c:v>7468.8</c:v>
                  </c:pt>
                  <c:pt idx="9">
                    <c:v>6507.22</c:v>
                  </c:pt>
                  <c:pt idx="10">
                    <c:v>6932.36</c:v>
                  </c:pt>
                  <c:pt idx="11">
                    <c:v>7941.81</c:v>
                  </c:pt>
                  <c:pt idx="12">
                    <c:v>7747.43</c:v>
                  </c:pt>
                  <c:pt idx="13">
                    <c:v>7429.61</c:v>
                  </c:pt>
                  <c:pt idx="14">
                    <c:v>7132.91</c:v>
                  </c:pt>
                  <c:pt idx="15">
                    <c:v>6844.71</c:v>
                  </c:pt>
                  <c:pt idx="16">
                    <c:v>6831.36</c:v>
                  </c:pt>
                  <c:pt idx="17">
                    <c:v>6465.79</c:v>
                  </c:pt>
                  <c:pt idx="18">
                    <c:v>6677.79</c:v>
                  </c:pt>
                  <c:pt idx="19">
                    <c:v>6850.59</c:v>
                  </c:pt>
                  <c:pt idx="20">
                    <c:v>6364.38</c:v>
                  </c:pt>
                  <c:pt idx="21">
                    <c:v>7295.65</c:v>
                  </c:pt>
                  <c:pt idx="22">
                    <c:v>7614.65</c:v>
                  </c:pt>
                  <c:pt idx="23">
                    <c:v>7151.81</c:v>
                  </c:pt>
                  <c:pt idx="24">
                    <c:v>6927.54</c:v>
                  </c:pt>
                  <c:pt idx="25">
                    <c:v>7904.55</c:v>
                  </c:pt>
                  <c:pt idx="26">
                    <c:v>7999.2</c:v>
                  </c:pt>
                  <c:pt idx="27">
                    <c:v>7391.87</c:v>
                  </c:pt>
                  <c:pt idx="28">
                    <c:v>8092.02</c:v>
                  </c:pt>
                  <c:pt idx="29">
                    <c:v>7338.94</c:v>
                  </c:pt>
                  <c:pt idx="30">
                    <c:v>6081.58</c:v>
                  </c:pt>
                </c:lvl>
                <c:lvl>
                  <c:pt idx="0">
                    <c:v>Download (GB)</c:v>
                  </c:pt>
                  <c:pt idx="1">
                    <c:v>7197.29</c:v>
                  </c:pt>
                  <c:pt idx="2">
                    <c:v>5963.13</c:v>
                  </c:pt>
                  <c:pt idx="3">
                    <c:v>6568.16</c:v>
                  </c:pt>
                  <c:pt idx="4">
                    <c:v>7117.04</c:v>
                  </c:pt>
                  <c:pt idx="5">
                    <c:v>6956.51</c:v>
                  </c:pt>
                  <c:pt idx="6">
                    <c:v>6780.38</c:v>
                  </c:pt>
                  <c:pt idx="7">
                    <c:v>7073.91</c:v>
                  </c:pt>
                  <c:pt idx="8">
                    <c:v>6959.69</c:v>
                  </c:pt>
                  <c:pt idx="9">
                    <c:v>6092.32</c:v>
                  </c:pt>
                  <c:pt idx="10">
                    <c:v>6456.06</c:v>
                  </c:pt>
                  <c:pt idx="11">
                    <c:v>7394.59</c:v>
                  </c:pt>
                  <c:pt idx="12">
                    <c:v>7187.37</c:v>
                  </c:pt>
                  <c:pt idx="13">
                    <c:v>6914.14</c:v>
                  </c:pt>
                  <c:pt idx="14">
                    <c:v>6647.55</c:v>
                  </c:pt>
                  <c:pt idx="15">
                    <c:v>6418.11</c:v>
                  </c:pt>
                  <c:pt idx="16">
                    <c:v>6376.58</c:v>
                  </c:pt>
                  <c:pt idx="17">
                    <c:v>6056.76</c:v>
                  </c:pt>
                  <c:pt idx="18">
                    <c:v>6252.83</c:v>
                  </c:pt>
                  <c:pt idx="19">
                    <c:v>6359.85</c:v>
                  </c:pt>
                  <c:pt idx="20">
                    <c:v>5908.43</c:v>
                  </c:pt>
                  <c:pt idx="21">
                    <c:v>6770.63</c:v>
                  </c:pt>
                  <c:pt idx="22">
                    <c:v>7089.78</c:v>
                  </c:pt>
                  <c:pt idx="23">
                    <c:v>6686.37</c:v>
                  </c:pt>
                  <c:pt idx="24">
                    <c:v>6482.87</c:v>
                  </c:pt>
                  <c:pt idx="25">
                    <c:v>7331.95</c:v>
                  </c:pt>
                  <c:pt idx="26">
                    <c:v>7433.8</c:v>
                  </c:pt>
                  <c:pt idx="27">
                    <c:v>6932.74</c:v>
                  </c:pt>
                  <c:pt idx="28">
                    <c:v>7527.69</c:v>
                  </c:pt>
                  <c:pt idx="29">
                    <c:v>6857.01</c:v>
                  </c:pt>
                  <c:pt idx="30">
                    <c:v>5686.66</c:v>
                  </c:pt>
                </c:lvl>
                <c:lvl>
                  <c:pt idx="0">
                    <c:v>Upload (GB)</c:v>
                  </c:pt>
                  <c:pt idx="1">
                    <c:v>482.71</c:v>
                  </c:pt>
                  <c:pt idx="2">
                    <c:v>410.36</c:v>
                  </c:pt>
                  <c:pt idx="3">
                    <c:v>438.57</c:v>
                  </c:pt>
                  <c:pt idx="4">
                    <c:v>504.34</c:v>
                  </c:pt>
                  <c:pt idx="5">
                    <c:v>510.2</c:v>
                  </c:pt>
                  <c:pt idx="6">
                    <c:v>499.33</c:v>
                  </c:pt>
                  <c:pt idx="7">
                    <c:v>507.11</c:v>
                  </c:pt>
                  <c:pt idx="8">
                    <c:v>509.12</c:v>
                  </c:pt>
                  <c:pt idx="9">
                    <c:v>414.9</c:v>
                  </c:pt>
                  <c:pt idx="10">
                    <c:v>476.29</c:v>
                  </c:pt>
                  <c:pt idx="11">
                    <c:v>547.22</c:v>
                  </c:pt>
                  <c:pt idx="12">
                    <c:v>560.06</c:v>
                  </c:pt>
                  <c:pt idx="13">
                    <c:v>515.47</c:v>
                  </c:pt>
                  <c:pt idx="14">
                    <c:v>485.36</c:v>
                  </c:pt>
                  <c:pt idx="15">
                    <c:v>426.6</c:v>
                  </c:pt>
                  <c:pt idx="16">
                    <c:v>454.78</c:v>
                  </c:pt>
                  <c:pt idx="17">
                    <c:v>409.03</c:v>
                  </c:pt>
                  <c:pt idx="18">
                    <c:v>424.96</c:v>
                  </c:pt>
                  <c:pt idx="19">
                    <c:v>490.74</c:v>
                  </c:pt>
                  <c:pt idx="20">
                    <c:v>455.95</c:v>
                  </c:pt>
                  <c:pt idx="21">
                    <c:v>525.02</c:v>
                  </c:pt>
                  <c:pt idx="22">
                    <c:v>524.87</c:v>
                  </c:pt>
                  <c:pt idx="23">
                    <c:v>465.44</c:v>
                  </c:pt>
                  <c:pt idx="24">
                    <c:v>444.67</c:v>
                  </c:pt>
                  <c:pt idx="25">
                    <c:v>572.6</c:v>
                  </c:pt>
                  <c:pt idx="26">
                    <c:v>565.4</c:v>
                  </c:pt>
                  <c:pt idx="27">
                    <c:v>459.13</c:v>
                  </c:pt>
                  <c:pt idx="28">
                    <c:v>564.33</c:v>
                  </c:pt>
                  <c:pt idx="29">
                    <c:v>481.93</c:v>
                  </c:pt>
                  <c:pt idx="30">
                    <c:v>394.92</c:v>
                  </c:pt>
                </c:lvl>
                <c:lvl>
                  <c:pt idx="0">
                    <c:v>Date</c:v>
                  </c:pt>
                  <c:pt idx="1">
                    <c:v>1-Apr</c:v>
                  </c:pt>
                  <c:pt idx="2">
                    <c:v>2-Apr</c:v>
                  </c:pt>
                  <c:pt idx="3">
                    <c:v>3-Apr</c:v>
                  </c:pt>
                  <c:pt idx="4">
                    <c:v>4-Apr</c:v>
                  </c:pt>
                  <c:pt idx="5">
                    <c:v>5-Apr</c:v>
                  </c:pt>
                  <c:pt idx="6">
                    <c:v>6-Apr</c:v>
                  </c:pt>
                  <c:pt idx="7">
                    <c:v>7-Apr</c:v>
                  </c:pt>
                  <c:pt idx="8">
                    <c:v>8-Apr</c:v>
                  </c:pt>
                  <c:pt idx="9">
                    <c:v>9-Apr</c:v>
                  </c:pt>
                  <c:pt idx="10">
                    <c:v>10-Apr</c:v>
                  </c:pt>
                  <c:pt idx="11">
                    <c:v>11-Apr</c:v>
                  </c:pt>
                  <c:pt idx="12">
                    <c:v>12-Apr</c:v>
                  </c:pt>
                  <c:pt idx="13">
                    <c:v>13-Apr</c:v>
                  </c:pt>
                  <c:pt idx="14">
                    <c:v>14-Apr</c:v>
                  </c:pt>
                  <c:pt idx="15">
                    <c:v>15-Apr</c:v>
                  </c:pt>
                  <c:pt idx="16">
                    <c:v>16-Apr</c:v>
                  </c:pt>
                  <c:pt idx="17">
                    <c:v>17-Apr</c:v>
                  </c:pt>
                  <c:pt idx="18">
                    <c:v>18-Apr</c:v>
                  </c:pt>
                  <c:pt idx="19">
                    <c:v>19-Apr</c:v>
                  </c:pt>
                  <c:pt idx="20">
                    <c:v>20-Apr</c:v>
                  </c:pt>
                  <c:pt idx="21">
                    <c:v>21-Apr</c:v>
                  </c:pt>
                  <c:pt idx="22">
                    <c:v>22-Apr</c:v>
                  </c:pt>
                  <c:pt idx="23">
                    <c:v>23-Apr</c:v>
                  </c:pt>
                  <c:pt idx="24">
                    <c:v>24-Apr</c:v>
                  </c:pt>
                  <c:pt idx="25">
                    <c:v>25-Apr</c:v>
                  </c:pt>
                  <c:pt idx="26">
                    <c:v>26-Apr</c:v>
                  </c:pt>
                  <c:pt idx="27">
                    <c:v>27-Apr</c:v>
                  </c:pt>
                  <c:pt idx="28">
                    <c:v>28-Apr</c:v>
                  </c:pt>
                  <c:pt idx="29">
                    <c:v>29-Apr</c:v>
                  </c:pt>
                  <c:pt idx="30">
                    <c:v>30-Apr</c:v>
                  </c:pt>
                </c:lvl>
              </c:multiLvlStrCache>
            </c:multiLvlStrRef>
          </c:cat>
          <c:val>
            <c:numRef>
              <c:f>'Volume Usage (Monthly) (2)'!$B$2:$B$32</c:f>
              <c:numCache>
                <c:formatCode>General</c:formatCode>
                <c:ptCount val="31"/>
                <c:pt idx="0">
                  <c:v>482.71</c:v>
                </c:pt>
                <c:pt idx="1">
                  <c:v>410.36</c:v>
                </c:pt>
                <c:pt idx="2">
                  <c:v>438.57</c:v>
                </c:pt>
                <c:pt idx="3">
                  <c:v>504.34000000000003</c:v>
                </c:pt>
                <c:pt idx="4">
                  <c:v>510.2</c:v>
                </c:pt>
                <c:pt idx="5">
                  <c:v>499.33</c:v>
                </c:pt>
                <c:pt idx="6">
                  <c:v>507.11</c:v>
                </c:pt>
                <c:pt idx="7">
                  <c:v>509.12</c:v>
                </c:pt>
                <c:pt idx="8">
                  <c:v>414.9</c:v>
                </c:pt>
                <c:pt idx="9">
                  <c:v>476.28999999999996</c:v>
                </c:pt>
                <c:pt idx="10">
                  <c:v>547.22</c:v>
                </c:pt>
                <c:pt idx="11">
                  <c:v>560.05999999999983</c:v>
                </c:pt>
                <c:pt idx="12">
                  <c:v>515.47</c:v>
                </c:pt>
                <c:pt idx="13">
                  <c:v>485.36</c:v>
                </c:pt>
                <c:pt idx="14">
                  <c:v>426.6</c:v>
                </c:pt>
                <c:pt idx="15">
                  <c:v>454.78</c:v>
                </c:pt>
                <c:pt idx="16">
                  <c:v>409.03</c:v>
                </c:pt>
                <c:pt idx="17">
                  <c:v>424.96</c:v>
                </c:pt>
                <c:pt idx="18">
                  <c:v>490.74</c:v>
                </c:pt>
                <c:pt idx="19">
                  <c:v>455.95</c:v>
                </c:pt>
                <c:pt idx="20">
                  <c:v>525.02</c:v>
                </c:pt>
                <c:pt idx="21">
                  <c:v>524.87</c:v>
                </c:pt>
                <c:pt idx="22">
                  <c:v>465.44</c:v>
                </c:pt>
                <c:pt idx="23">
                  <c:v>444.67</c:v>
                </c:pt>
                <c:pt idx="24">
                  <c:v>572.6</c:v>
                </c:pt>
                <c:pt idx="25">
                  <c:v>565.4</c:v>
                </c:pt>
                <c:pt idx="26">
                  <c:v>459.13</c:v>
                </c:pt>
                <c:pt idx="27">
                  <c:v>564.32999999999993</c:v>
                </c:pt>
                <c:pt idx="28">
                  <c:v>481.92999999999995</c:v>
                </c:pt>
                <c:pt idx="29">
                  <c:v>394.91999999999996</c:v>
                </c:pt>
              </c:numCache>
            </c:numRef>
          </c:val>
          <c:extLst xmlns:c16r2="http://schemas.microsoft.com/office/drawing/2015/06/chart">
            <c:ext xmlns:c16="http://schemas.microsoft.com/office/drawing/2014/chart" uri="{C3380CC4-5D6E-409C-BE32-E72D297353CC}">
              <c16:uniqueId val="{00000000-57B7-4030-88B7-3BFFE6B426B1}"/>
            </c:ext>
          </c:extLst>
        </c:ser>
        <c:ser>
          <c:idx val="1"/>
          <c:order val="1"/>
          <c:tx>
            <c:strRef>
              <c:f>'Volume Usage (Monthly) (2)'!$C$1</c:f>
              <c:strCache>
                <c:ptCount val="1"/>
                <c:pt idx="0">
                  <c:v>Download (GB)</c:v>
                </c:pt>
              </c:strCache>
            </c:strRef>
          </c:tx>
          <c:spPr>
            <a:solidFill>
              <a:srgbClr val="273C88"/>
            </a:solidFill>
            <a:ln>
              <a:solidFill>
                <a:sysClr val="windowText" lastClr="000000"/>
              </a:solidFill>
            </a:ln>
            <a:effectLst/>
          </c:spPr>
          <c:dPt>
            <c:idx val="28"/>
            <c:extLst xmlns:c16r2="http://schemas.microsoft.com/office/drawing/2015/06/chart">
              <c:ext xmlns:c16="http://schemas.microsoft.com/office/drawing/2014/chart" uri="{C3380CC4-5D6E-409C-BE32-E72D297353CC}">
                <c16:uniqueId val="{00000002-57B7-4030-88B7-3BFFE6B426B1}"/>
              </c:ext>
            </c:extLst>
          </c:dPt>
          <c:dPt>
            <c:idx val="30"/>
            <c:extLst xmlns:c16r2="http://schemas.microsoft.com/office/drawing/2015/06/chart">
              <c:ext xmlns:c16="http://schemas.microsoft.com/office/drawing/2014/chart" uri="{C3380CC4-5D6E-409C-BE32-E72D297353CC}">
                <c16:uniqueId val="{00000004-57B7-4030-88B7-3BFFE6B426B1}"/>
              </c:ext>
            </c:extLst>
          </c:dPt>
          <c:cat>
            <c:multiLvlStrRef>
              <c:f>'Volume Usage (Monthly) (2)'!$A$1:$D$32</c:f>
              <c:multiLvlStrCache>
                <c:ptCount val="31"/>
                <c:lvl>
                  <c:pt idx="0">
                    <c:v>Total (GB)</c:v>
                  </c:pt>
                  <c:pt idx="1">
                    <c:v>7680</c:v>
                  </c:pt>
                  <c:pt idx="2">
                    <c:v>6373.49</c:v>
                  </c:pt>
                  <c:pt idx="3">
                    <c:v>7006.73</c:v>
                  </c:pt>
                  <c:pt idx="4">
                    <c:v>7621.38</c:v>
                  </c:pt>
                  <c:pt idx="5">
                    <c:v>7466.71</c:v>
                  </c:pt>
                  <c:pt idx="6">
                    <c:v>7279.71</c:v>
                  </c:pt>
                  <c:pt idx="7">
                    <c:v>7581.02</c:v>
                  </c:pt>
                  <c:pt idx="8">
                    <c:v>7468.8</c:v>
                  </c:pt>
                  <c:pt idx="9">
                    <c:v>6507.22</c:v>
                  </c:pt>
                  <c:pt idx="10">
                    <c:v>6932.36</c:v>
                  </c:pt>
                  <c:pt idx="11">
                    <c:v>7941.81</c:v>
                  </c:pt>
                  <c:pt idx="12">
                    <c:v>7747.43</c:v>
                  </c:pt>
                  <c:pt idx="13">
                    <c:v>7429.61</c:v>
                  </c:pt>
                  <c:pt idx="14">
                    <c:v>7132.91</c:v>
                  </c:pt>
                  <c:pt idx="15">
                    <c:v>6844.71</c:v>
                  </c:pt>
                  <c:pt idx="16">
                    <c:v>6831.36</c:v>
                  </c:pt>
                  <c:pt idx="17">
                    <c:v>6465.79</c:v>
                  </c:pt>
                  <c:pt idx="18">
                    <c:v>6677.79</c:v>
                  </c:pt>
                  <c:pt idx="19">
                    <c:v>6850.59</c:v>
                  </c:pt>
                  <c:pt idx="20">
                    <c:v>6364.38</c:v>
                  </c:pt>
                  <c:pt idx="21">
                    <c:v>7295.65</c:v>
                  </c:pt>
                  <c:pt idx="22">
                    <c:v>7614.65</c:v>
                  </c:pt>
                  <c:pt idx="23">
                    <c:v>7151.81</c:v>
                  </c:pt>
                  <c:pt idx="24">
                    <c:v>6927.54</c:v>
                  </c:pt>
                  <c:pt idx="25">
                    <c:v>7904.55</c:v>
                  </c:pt>
                  <c:pt idx="26">
                    <c:v>7999.2</c:v>
                  </c:pt>
                  <c:pt idx="27">
                    <c:v>7391.87</c:v>
                  </c:pt>
                  <c:pt idx="28">
                    <c:v>8092.02</c:v>
                  </c:pt>
                  <c:pt idx="29">
                    <c:v>7338.94</c:v>
                  </c:pt>
                  <c:pt idx="30">
                    <c:v>6081.58</c:v>
                  </c:pt>
                </c:lvl>
                <c:lvl>
                  <c:pt idx="0">
                    <c:v>Download (GB)</c:v>
                  </c:pt>
                  <c:pt idx="1">
                    <c:v>7197.29</c:v>
                  </c:pt>
                  <c:pt idx="2">
                    <c:v>5963.13</c:v>
                  </c:pt>
                  <c:pt idx="3">
                    <c:v>6568.16</c:v>
                  </c:pt>
                  <c:pt idx="4">
                    <c:v>7117.04</c:v>
                  </c:pt>
                  <c:pt idx="5">
                    <c:v>6956.51</c:v>
                  </c:pt>
                  <c:pt idx="6">
                    <c:v>6780.38</c:v>
                  </c:pt>
                  <c:pt idx="7">
                    <c:v>7073.91</c:v>
                  </c:pt>
                  <c:pt idx="8">
                    <c:v>6959.69</c:v>
                  </c:pt>
                  <c:pt idx="9">
                    <c:v>6092.32</c:v>
                  </c:pt>
                  <c:pt idx="10">
                    <c:v>6456.06</c:v>
                  </c:pt>
                  <c:pt idx="11">
                    <c:v>7394.59</c:v>
                  </c:pt>
                  <c:pt idx="12">
                    <c:v>7187.37</c:v>
                  </c:pt>
                  <c:pt idx="13">
                    <c:v>6914.14</c:v>
                  </c:pt>
                  <c:pt idx="14">
                    <c:v>6647.55</c:v>
                  </c:pt>
                  <c:pt idx="15">
                    <c:v>6418.11</c:v>
                  </c:pt>
                  <c:pt idx="16">
                    <c:v>6376.58</c:v>
                  </c:pt>
                  <c:pt idx="17">
                    <c:v>6056.76</c:v>
                  </c:pt>
                  <c:pt idx="18">
                    <c:v>6252.83</c:v>
                  </c:pt>
                  <c:pt idx="19">
                    <c:v>6359.85</c:v>
                  </c:pt>
                  <c:pt idx="20">
                    <c:v>5908.43</c:v>
                  </c:pt>
                  <c:pt idx="21">
                    <c:v>6770.63</c:v>
                  </c:pt>
                  <c:pt idx="22">
                    <c:v>7089.78</c:v>
                  </c:pt>
                  <c:pt idx="23">
                    <c:v>6686.37</c:v>
                  </c:pt>
                  <c:pt idx="24">
                    <c:v>6482.87</c:v>
                  </c:pt>
                  <c:pt idx="25">
                    <c:v>7331.95</c:v>
                  </c:pt>
                  <c:pt idx="26">
                    <c:v>7433.8</c:v>
                  </c:pt>
                  <c:pt idx="27">
                    <c:v>6932.74</c:v>
                  </c:pt>
                  <c:pt idx="28">
                    <c:v>7527.69</c:v>
                  </c:pt>
                  <c:pt idx="29">
                    <c:v>6857.01</c:v>
                  </c:pt>
                  <c:pt idx="30">
                    <c:v>5686.66</c:v>
                  </c:pt>
                </c:lvl>
                <c:lvl>
                  <c:pt idx="0">
                    <c:v>Upload (GB)</c:v>
                  </c:pt>
                  <c:pt idx="1">
                    <c:v>482.71</c:v>
                  </c:pt>
                  <c:pt idx="2">
                    <c:v>410.36</c:v>
                  </c:pt>
                  <c:pt idx="3">
                    <c:v>438.57</c:v>
                  </c:pt>
                  <c:pt idx="4">
                    <c:v>504.34</c:v>
                  </c:pt>
                  <c:pt idx="5">
                    <c:v>510.2</c:v>
                  </c:pt>
                  <c:pt idx="6">
                    <c:v>499.33</c:v>
                  </c:pt>
                  <c:pt idx="7">
                    <c:v>507.11</c:v>
                  </c:pt>
                  <c:pt idx="8">
                    <c:v>509.12</c:v>
                  </c:pt>
                  <c:pt idx="9">
                    <c:v>414.9</c:v>
                  </c:pt>
                  <c:pt idx="10">
                    <c:v>476.29</c:v>
                  </c:pt>
                  <c:pt idx="11">
                    <c:v>547.22</c:v>
                  </c:pt>
                  <c:pt idx="12">
                    <c:v>560.06</c:v>
                  </c:pt>
                  <c:pt idx="13">
                    <c:v>515.47</c:v>
                  </c:pt>
                  <c:pt idx="14">
                    <c:v>485.36</c:v>
                  </c:pt>
                  <c:pt idx="15">
                    <c:v>426.6</c:v>
                  </c:pt>
                  <c:pt idx="16">
                    <c:v>454.78</c:v>
                  </c:pt>
                  <c:pt idx="17">
                    <c:v>409.03</c:v>
                  </c:pt>
                  <c:pt idx="18">
                    <c:v>424.96</c:v>
                  </c:pt>
                  <c:pt idx="19">
                    <c:v>490.74</c:v>
                  </c:pt>
                  <c:pt idx="20">
                    <c:v>455.95</c:v>
                  </c:pt>
                  <c:pt idx="21">
                    <c:v>525.02</c:v>
                  </c:pt>
                  <c:pt idx="22">
                    <c:v>524.87</c:v>
                  </c:pt>
                  <c:pt idx="23">
                    <c:v>465.44</c:v>
                  </c:pt>
                  <c:pt idx="24">
                    <c:v>444.67</c:v>
                  </c:pt>
                  <c:pt idx="25">
                    <c:v>572.6</c:v>
                  </c:pt>
                  <c:pt idx="26">
                    <c:v>565.4</c:v>
                  </c:pt>
                  <c:pt idx="27">
                    <c:v>459.13</c:v>
                  </c:pt>
                  <c:pt idx="28">
                    <c:v>564.33</c:v>
                  </c:pt>
                  <c:pt idx="29">
                    <c:v>481.93</c:v>
                  </c:pt>
                  <c:pt idx="30">
                    <c:v>394.92</c:v>
                  </c:pt>
                </c:lvl>
                <c:lvl>
                  <c:pt idx="0">
                    <c:v>Date</c:v>
                  </c:pt>
                  <c:pt idx="1">
                    <c:v>1-Apr</c:v>
                  </c:pt>
                  <c:pt idx="2">
                    <c:v>2-Apr</c:v>
                  </c:pt>
                  <c:pt idx="3">
                    <c:v>3-Apr</c:v>
                  </c:pt>
                  <c:pt idx="4">
                    <c:v>4-Apr</c:v>
                  </c:pt>
                  <c:pt idx="5">
                    <c:v>5-Apr</c:v>
                  </c:pt>
                  <c:pt idx="6">
                    <c:v>6-Apr</c:v>
                  </c:pt>
                  <c:pt idx="7">
                    <c:v>7-Apr</c:v>
                  </c:pt>
                  <c:pt idx="8">
                    <c:v>8-Apr</c:v>
                  </c:pt>
                  <c:pt idx="9">
                    <c:v>9-Apr</c:v>
                  </c:pt>
                  <c:pt idx="10">
                    <c:v>10-Apr</c:v>
                  </c:pt>
                  <c:pt idx="11">
                    <c:v>11-Apr</c:v>
                  </c:pt>
                  <c:pt idx="12">
                    <c:v>12-Apr</c:v>
                  </c:pt>
                  <c:pt idx="13">
                    <c:v>13-Apr</c:v>
                  </c:pt>
                  <c:pt idx="14">
                    <c:v>14-Apr</c:v>
                  </c:pt>
                  <c:pt idx="15">
                    <c:v>15-Apr</c:v>
                  </c:pt>
                  <c:pt idx="16">
                    <c:v>16-Apr</c:v>
                  </c:pt>
                  <c:pt idx="17">
                    <c:v>17-Apr</c:v>
                  </c:pt>
                  <c:pt idx="18">
                    <c:v>18-Apr</c:v>
                  </c:pt>
                  <c:pt idx="19">
                    <c:v>19-Apr</c:v>
                  </c:pt>
                  <c:pt idx="20">
                    <c:v>20-Apr</c:v>
                  </c:pt>
                  <c:pt idx="21">
                    <c:v>21-Apr</c:v>
                  </c:pt>
                  <c:pt idx="22">
                    <c:v>22-Apr</c:v>
                  </c:pt>
                  <c:pt idx="23">
                    <c:v>23-Apr</c:v>
                  </c:pt>
                  <c:pt idx="24">
                    <c:v>24-Apr</c:v>
                  </c:pt>
                  <c:pt idx="25">
                    <c:v>25-Apr</c:v>
                  </c:pt>
                  <c:pt idx="26">
                    <c:v>26-Apr</c:v>
                  </c:pt>
                  <c:pt idx="27">
                    <c:v>27-Apr</c:v>
                  </c:pt>
                  <c:pt idx="28">
                    <c:v>28-Apr</c:v>
                  </c:pt>
                  <c:pt idx="29">
                    <c:v>29-Apr</c:v>
                  </c:pt>
                  <c:pt idx="30">
                    <c:v>30-Apr</c:v>
                  </c:pt>
                </c:lvl>
              </c:multiLvlStrCache>
            </c:multiLvlStrRef>
          </c:cat>
          <c:val>
            <c:numRef>
              <c:f>'Volume Usage (Monthly) (2)'!$C$2:$C$32</c:f>
              <c:numCache>
                <c:formatCode>General</c:formatCode>
                <c:ptCount val="31"/>
                <c:pt idx="0">
                  <c:v>7197.29</c:v>
                </c:pt>
                <c:pt idx="1">
                  <c:v>5963.13</c:v>
                </c:pt>
                <c:pt idx="2">
                  <c:v>6568.1600000000008</c:v>
                </c:pt>
                <c:pt idx="3">
                  <c:v>7117.04</c:v>
                </c:pt>
                <c:pt idx="4">
                  <c:v>6956.51</c:v>
                </c:pt>
                <c:pt idx="5">
                  <c:v>6780.38</c:v>
                </c:pt>
                <c:pt idx="6">
                  <c:v>7073.91</c:v>
                </c:pt>
                <c:pt idx="7">
                  <c:v>6959.6900000000005</c:v>
                </c:pt>
                <c:pt idx="8">
                  <c:v>6092.3200000000006</c:v>
                </c:pt>
                <c:pt idx="9">
                  <c:v>6456.06</c:v>
                </c:pt>
                <c:pt idx="10">
                  <c:v>7394.59</c:v>
                </c:pt>
                <c:pt idx="11">
                  <c:v>7187.37</c:v>
                </c:pt>
                <c:pt idx="12">
                  <c:v>6914.14</c:v>
                </c:pt>
                <c:pt idx="13">
                  <c:v>6647.55</c:v>
                </c:pt>
                <c:pt idx="14">
                  <c:v>6418.1100000000006</c:v>
                </c:pt>
                <c:pt idx="15">
                  <c:v>6376.58</c:v>
                </c:pt>
                <c:pt idx="16">
                  <c:v>6056.76</c:v>
                </c:pt>
                <c:pt idx="17">
                  <c:v>6252.83</c:v>
                </c:pt>
                <c:pt idx="18">
                  <c:v>6359.85</c:v>
                </c:pt>
                <c:pt idx="19">
                  <c:v>5908.4299999999994</c:v>
                </c:pt>
                <c:pt idx="20">
                  <c:v>6770.63</c:v>
                </c:pt>
                <c:pt idx="21">
                  <c:v>7089.78</c:v>
                </c:pt>
                <c:pt idx="22">
                  <c:v>6686.37</c:v>
                </c:pt>
                <c:pt idx="23">
                  <c:v>6482.87</c:v>
                </c:pt>
                <c:pt idx="24">
                  <c:v>7331.95</c:v>
                </c:pt>
                <c:pt idx="25">
                  <c:v>7433.8</c:v>
                </c:pt>
                <c:pt idx="26">
                  <c:v>6932.74</c:v>
                </c:pt>
                <c:pt idx="27">
                  <c:v>7527.6900000000005</c:v>
                </c:pt>
                <c:pt idx="28">
                  <c:v>6857.01</c:v>
                </c:pt>
                <c:pt idx="29">
                  <c:v>5686.6600000000008</c:v>
                </c:pt>
              </c:numCache>
            </c:numRef>
          </c:val>
          <c:extLst xmlns:c16r2="http://schemas.microsoft.com/office/drawing/2015/06/chart">
            <c:ext xmlns:c16="http://schemas.microsoft.com/office/drawing/2014/chart" uri="{C3380CC4-5D6E-409C-BE32-E72D297353CC}">
              <c16:uniqueId val="{00000005-57B7-4030-88B7-3BFFE6B426B1}"/>
            </c:ext>
          </c:extLst>
        </c:ser>
        <c:dLbls/>
        <c:overlap val="100"/>
        <c:axId val="95105792"/>
        <c:axId val="86690816"/>
      </c:barChart>
      <c:lineChart>
        <c:grouping val="standard"/>
        <c:ser>
          <c:idx val="2"/>
          <c:order val="2"/>
          <c:tx>
            <c:strRef>
              <c:f>'Volume Usage (Monthly) (2)'!$D$1</c:f>
              <c:strCache>
                <c:ptCount val="1"/>
                <c:pt idx="0">
                  <c:v>Total (GB)</c:v>
                </c:pt>
              </c:strCache>
            </c:strRef>
          </c:tx>
          <c:spPr>
            <a:ln w="25400" cap="rnd">
              <a:no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Volume Usage (Monthly) (2)'!$A$2:$A$32</c:f>
              <c:numCache>
                <c:formatCode>[$-409]d\-mmm;@</c:formatCode>
                <c:ptCount val="31"/>
                <c:pt idx="0">
                  <c:v>44652</c:v>
                </c:pt>
                <c:pt idx="1">
                  <c:v>44653</c:v>
                </c:pt>
                <c:pt idx="2">
                  <c:v>44654</c:v>
                </c:pt>
                <c:pt idx="3">
                  <c:v>44655</c:v>
                </c:pt>
                <c:pt idx="4">
                  <c:v>44656</c:v>
                </c:pt>
                <c:pt idx="5">
                  <c:v>44657</c:v>
                </c:pt>
                <c:pt idx="6">
                  <c:v>44658</c:v>
                </c:pt>
                <c:pt idx="7">
                  <c:v>44659</c:v>
                </c:pt>
                <c:pt idx="8">
                  <c:v>44660</c:v>
                </c:pt>
                <c:pt idx="9">
                  <c:v>44661</c:v>
                </c:pt>
                <c:pt idx="10">
                  <c:v>44662</c:v>
                </c:pt>
                <c:pt idx="11">
                  <c:v>44663</c:v>
                </c:pt>
                <c:pt idx="12">
                  <c:v>44664</c:v>
                </c:pt>
                <c:pt idx="13">
                  <c:v>44665</c:v>
                </c:pt>
                <c:pt idx="14">
                  <c:v>44666</c:v>
                </c:pt>
                <c:pt idx="15">
                  <c:v>44667</c:v>
                </c:pt>
                <c:pt idx="16">
                  <c:v>44668</c:v>
                </c:pt>
                <c:pt idx="17">
                  <c:v>44669</c:v>
                </c:pt>
                <c:pt idx="18">
                  <c:v>44670</c:v>
                </c:pt>
                <c:pt idx="19">
                  <c:v>44671</c:v>
                </c:pt>
                <c:pt idx="20">
                  <c:v>44672</c:v>
                </c:pt>
                <c:pt idx="21">
                  <c:v>44673</c:v>
                </c:pt>
                <c:pt idx="22">
                  <c:v>44674</c:v>
                </c:pt>
                <c:pt idx="23">
                  <c:v>44675</c:v>
                </c:pt>
                <c:pt idx="24">
                  <c:v>44676</c:v>
                </c:pt>
                <c:pt idx="25">
                  <c:v>44677</c:v>
                </c:pt>
                <c:pt idx="26">
                  <c:v>44678</c:v>
                </c:pt>
                <c:pt idx="27">
                  <c:v>44679</c:v>
                </c:pt>
                <c:pt idx="28">
                  <c:v>44680</c:v>
                </c:pt>
                <c:pt idx="29">
                  <c:v>44681</c:v>
                </c:pt>
              </c:numCache>
            </c:numRef>
          </c:cat>
          <c:val>
            <c:numRef>
              <c:f>'Volume Usage (Monthly) (2)'!$D$2:$D$32</c:f>
              <c:numCache>
                <c:formatCode>General</c:formatCode>
                <c:ptCount val="31"/>
                <c:pt idx="0">
                  <c:v>7680</c:v>
                </c:pt>
                <c:pt idx="1">
                  <c:v>6373.49</c:v>
                </c:pt>
                <c:pt idx="2">
                  <c:v>7006.73</c:v>
                </c:pt>
                <c:pt idx="3">
                  <c:v>7621.38</c:v>
                </c:pt>
                <c:pt idx="4">
                  <c:v>7466.71</c:v>
                </c:pt>
                <c:pt idx="5">
                  <c:v>7279.71</c:v>
                </c:pt>
                <c:pt idx="6">
                  <c:v>7581.02</c:v>
                </c:pt>
                <c:pt idx="7">
                  <c:v>7468.8</c:v>
                </c:pt>
                <c:pt idx="8">
                  <c:v>6507.22</c:v>
                </c:pt>
                <c:pt idx="9">
                  <c:v>6932.3600000000006</c:v>
                </c:pt>
                <c:pt idx="10">
                  <c:v>7941.81</c:v>
                </c:pt>
                <c:pt idx="11">
                  <c:v>7747.4299999999994</c:v>
                </c:pt>
                <c:pt idx="12">
                  <c:v>7429.6100000000006</c:v>
                </c:pt>
                <c:pt idx="13">
                  <c:v>7132.91</c:v>
                </c:pt>
                <c:pt idx="14">
                  <c:v>6844.71</c:v>
                </c:pt>
                <c:pt idx="15">
                  <c:v>6831.3600000000006</c:v>
                </c:pt>
                <c:pt idx="16">
                  <c:v>6465.79</c:v>
                </c:pt>
                <c:pt idx="17">
                  <c:v>6677.79</c:v>
                </c:pt>
                <c:pt idx="18">
                  <c:v>6850.59</c:v>
                </c:pt>
                <c:pt idx="19">
                  <c:v>6364.38</c:v>
                </c:pt>
                <c:pt idx="20">
                  <c:v>7295.6500000000005</c:v>
                </c:pt>
                <c:pt idx="21">
                  <c:v>7614.6500000000005</c:v>
                </c:pt>
                <c:pt idx="22">
                  <c:v>7151.81</c:v>
                </c:pt>
                <c:pt idx="23">
                  <c:v>6927.54</c:v>
                </c:pt>
                <c:pt idx="24">
                  <c:v>7904.55</c:v>
                </c:pt>
                <c:pt idx="25">
                  <c:v>7999.2</c:v>
                </c:pt>
                <c:pt idx="26">
                  <c:v>7391.87</c:v>
                </c:pt>
                <c:pt idx="27">
                  <c:v>8092.02</c:v>
                </c:pt>
                <c:pt idx="28">
                  <c:v>7338.94</c:v>
                </c:pt>
                <c:pt idx="29">
                  <c:v>6081.58</c:v>
                </c:pt>
              </c:numCache>
            </c:numRef>
          </c:val>
          <c:extLst xmlns:c16r2="http://schemas.microsoft.com/office/drawing/2015/06/chart">
            <c:ext xmlns:c16="http://schemas.microsoft.com/office/drawing/2014/chart" uri="{C3380CC4-5D6E-409C-BE32-E72D297353CC}">
              <c16:uniqueId val="{00000006-57B7-4030-88B7-3BFFE6B426B1}"/>
            </c:ext>
          </c:extLst>
        </c:ser>
        <c:dLbls/>
        <c:marker val="1"/>
        <c:axId val="86687744"/>
        <c:axId val="86689280"/>
      </c:lineChart>
      <c:dateAx>
        <c:axId val="86687744"/>
        <c:scaling>
          <c:orientation val="minMax"/>
        </c:scaling>
        <c:axPos val="b"/>
        <c:numFmt formatCode="[$-409]d\-mmm;@"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89280"/>
        <c:crosses val="autoZero"/>
        <c:auto val="1"/>
        <c:lblOffset val="100"/>
        <c:baseTimeUnit val="days"/>
      </c:dateAx>
      <c:valAx>
        <c:axId val="86689280"/>
        <c:scaling>
          <c:orientation val="minMax"/>
        </c:scaling>
        <c:axPos val="l"/>
        <c:majorGridlines>
          <c:spPr>
            <a:ln w="9525" cap="flat" cmpd="sng" algn="ctr">
              <a:noFill/>
              <a:round/>
            </a:ln>
            <a:effectLst/>
          </c:spPr>
        </c:majorGridlines>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6687744"/>
        <c:crosses val="autoZero"/>
        <c:crossBetween val="between"/>
      </c:valAx>
      <c:valAx>
        <c:axId val="86690816"/>
        <c:scaling>
          <c:orientation val="minMax"/>
        </c:scaling>
        <c:axPos val="r"/>
        <c:numFmt formatCode="General"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105792"/>
        <c:crosses val="max"/>
        <c:crossBetween val="between"/>
      </c:valAx>
      <c:catAx>
        <c:axId val="95105792"/>
        <c:scaling>
          <c:orientation val="minMax"/>
        </c:scaling>
        <c:delete val="1"/>
        <c:axPos val="b"/>
        <c:numFmt formatCode="General" sourceLinked="1"/>
        <c:majorTickMark val="none"/>
        <c:tickLblPos val="none"/>
        <c:crossAx val="86690816"/>
        <c:crosses val="autoZero"/>
        <c:auto val="1"/>
        <c:lblAlgn val="ctr"/>
        <c:lblOffset val="100"/>
        <c:tickLblSkip val="1"/>
        <c:tickMarkSkip val="1"/>
        <c:noMultiLvlLbl val="1"/>
      </c:catAx>
      <c:spPr>
        <a:noFill/>
        <a:ln>
          <a:solidFill>
            <a:sysClr val="windowText" lastClr="000000"/>
          </a:solidFill>
        </a:ln>
        <a:effectLst/>
      </c:spPr>
    </c:plotArea>
    <c:legend>
      <c:legendPos val="b"/>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6750418760469014E-2"/>
          <c:y val="2.5974025974025983E-2"/>
          <c:w val="0.9631490787269682"/>
          <c:h val="0.83789799002397436"/>
        </c:manualLayout>
      </c:layout>
      <c:barChart>
        <c:barDir val="col"/>
        <c:grouping val="clustered"/>
        <c:ser>
          <c:idx val="0"/>
          <c:order val="0"/>
          <c:tx>
            <c:strRef>
              <c:f>'Top10'!$F$29</c:f>
              <c:strCache>
                <c:ptCount val="1"/>
                <c:pt idx="0">
                  <c:v>Total</c:v>
                </c:pt>
              </c:strCache>
            </c:strRef>
          </c:tx>
          <c:spPr>
            <a:solidFill>
              <a:srgbClr val="273C88"/>
            </a:solidFill>
            <a:ln>
              <a:noFill/>
            </a:ln>
            <a:effectLst/>
          </c:spP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op10'!$E$30:$E$39</c:f>
              <c:strCache>
                <c:ptCount val="10"/>
                <c:pt idx="0">
                  <c:v>Bloekombos Sec</c:v>
                </c:pt>
                <c:pt idx="1">
                  <c:v>Masakheke Combined</c:v>
                </c:pt>
                <c:pt idx="2">
                  <c:v>Nkqubela Clinic</c:v>
                </c:pt>
                <c:pt idx="3">
                  <c:v>Groenheuwel Library</c:v>
                </c:pt>
                <c:pt idx="4">
                  <c:v>Zeekoevlei Sec.</c:v>
                </c:pt>
                <c:pt idx="5">
                  <c:v>Mbekweni - Thusong Centre</c:v>
                </c:pt>
                <c:pt idx="6">
                  <c:v>Ukhanyo Prim.</c:v>
                </c:pt>
                <c:pt idx="7">
                  <c:v>Sandhills Clinic</c:v>
                </c:pt>
                <c:pt idx="8">
                  <c:v>Heideveld Cdc</c:v>
                </c:pt>
                <c:pt idx="9">
                  <c:v>Imboniselo Prim.</c:v>
                </c:pt>
              </c:strCache>
            </c:strRef>
          </c:cat>
          <c:val>
            <c:numRef>
              <c:f>'Top10'!$F$30:$F$39</c:f>
              <c:numCache>
                <c:formatCode>General</c:formatCode>
                <c:ptCount val="10"/>
                <c:pt idx="0">
                  <c:v>2004</c:v>
                </c:pt>
                <c:pt idx="1">
                  <c:v>1482.7</c:v>
                </c:pt>
                <c:pt idx="2">
                  <c:v>1376</c:v>
                </c:pt>
                <c:pt idx="3">
                  <c:v>1348.06</c:v>
                </c:pt>
                <c:pt idx="4">
                  <c:v>1187.01</c:v>
                </c:pt>
                <c:pt idx="5">
                  <c:v>1018.87</c:v>
                </c:pt>
                <c:pt idx="6">
                  <c:v>960.63</c:v>
                </c:pt>
                <c:pt idx="7">
                  <c:v>957.42</c:v>
                </c:pt>
                <c:pt idx="8">
                  <c:v>907.8599999999999</c:v>
                </c:pt>
                <c:pt idx="9">
                  <c:v>871.52</c:v>
                </c:pt>
              </c:numCache>
            </c:numRef>
          </c:val>
          <c:extLst xmlns:c16r2="http://schemas.microsoft.com/office/drawing/2015/06/chart">
            <c:ext xmlns:c16="http://schemas.microsoft.com/office/drawing/2014/chart" uri="{C3380CC4-5D6E-409C-BE32-E72D297353CC}">
              <c16:uniqueId val="{00000000-B73A-48CD-B392-108221EBE815}"/>
            </c:ext>
          </c:extLst>
        </c:ser>
        <c:dLbls/>
        <c:gapWidth val="219"/>
        <c:overlap val="-27"/>
        <c:axId val="95284608"/>
        <c:axId val="83731584"/>
      </c:barChart>
      <c:catAx>
        <c:axId val="95284608"/>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3731584"/>
        <c:crosses val="autoZero"/>
        <c:auto val="1"/>
        <c:lblAlgn val="ctr"/>
        <c:lblOffset val="100"/>
      </c:catAx>
      <c:valAx>
        <c:axId val="83731584"/>
        <c:scaling>
          <c:orientation val="minMax"/>
        </c:scaling>
        <c:delete val="1"/>
        <c:axPos val="l"/>
        <c:numFmt formatCode="General" sourceLinked="1"/>
        <c:majorTickMark val="none"/>
        <c:tickLblPos val="none"/>
        <c:crossAx val="95284608"/>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1458332393509482E-2"/>
          <c:y val="2.0833333333333336E-2"/>
          <c:w val="0.97708333521298107"/>
          <c:h val="0.86788568095654717"/>
        </c:manualLayout>
      </c:layout>
      <c:barChart>
        <c:barDir val="col"/>
        <c:grouping val="stacked"/>
        <c:ser>
          <c:idx val="0"/>
          <c:order val="0"/>
          <c:tx>
            <c:strRef>
              <c:f>'Hourly Volume Usage (Monthly)'!$B$1</c:f>
              <c:strCache>
                <c:ptCount val="1"/>
                <c:pt idx="0">
                  <c:v>Upload (GB)</c:v>
                </c:pt>
              </c:strCache>
            </c:strRef>
          </c:tx>
          <c:spPr>
            <a:solidFill>
              <a:schemeClr val="bg1">
                <a:lumMod val="75000"/>
              </a:schemeClr>
            </a:solidFill>
            <a:ln>
              <a:noFill/>
            </a:ln>
            <a:effectLst/>
          </c:spPr>
          <c:cat>
            <c:numRef>
              <c:f>'Hourly Volume Usage (Monthly)'!$A$2:$A$25</c:f>
              <c:numCache>
                <c:formatCode>h:mm</c:formatCode>
                <c:ptCount val="24"/>
                <c:pt idx="0">
                  <c:v>0</c:v>
                </c:pt>
                <c:pt idx="1">
                  <c:v>4.1666666666666664E-2</c:v>
                </c:pt>
                <c:pt idx="2">
                  <c:v>8.3333333333333343E-2</c:v>
                </c:pt>
                <c:pt idx="3">
                  <c:v>0.125</c:v>
                </c:pt>
                <c:pt idx="4">
                  <c:v>0.16666666666666666</c:v>
                </c:pt>
                <c:pt idx="5">
                  <c:v>0.20833333333333337</c:v>
                </c:pt>
                <c:pt idx="6">
                  <c:v>0.25</c:v>
                </c:pt>
                <c:pt idx="7">
                  <c:v>0.2916666666666668</c:v>
                </c:pt>
                <c:pt idx="8">
                  <c:v>0.33333333333333331</c:v>
                </c:pt>
                <c:pt idx="9">
                  <c:v>0.37500000000000006</c:v>
                </c:pt>
                <c:pt idx="10">
                  <c:v>0.4166666666666668</c:v>
                </c:pt>
                <c:pt idx="11">
                  <c:v>0.45833333333333326</c:v>
                </c:pt>
                <c:pt idx="12">
                  <c:v>0.5</c:v>
                </c:pt>
                <c:pt idx="13">
                  <c:v>0.54166666666666652</c:v>
                </c:pt>
                <c:pt idx="14">
                  <c:v>0.58333333333333337</c:v>
                </c:pt>
                <c:pt idx="15">
                  <c:v>0.62500000000000011</c:v>
                </c:pt>
                <c:pt idx="16">
                  <c:v>0.66666666666666663</c:v>
                </c:pt>
                <c:pt idx="17">
                  <c:v>0.70833333333333348</c:v>
                </c:pt>
                <c:pt idx="18">
                  <c:v>0.75000000000000011</c:v>
                </c:pt>
                <c:pt idx="19">
                  <c:v>0.79166666666666652</c:v>
                </c:pt>
                <c:pt idx="20">
                  <c:v>0.83333333333333348</c:v>
                </c:pt>
                <c:pt idx="21">
                  <c:v>0.87500000000000011</c:v>
                </c:pt>
                <c:pt idx="22">
                  <c:v>0.91666666666666652</c:v>
                </c:pt>
                <c:pt idx="23">
                  <c:v>0.95833333333333348</c:v>
                </c:pt>
              </c:numCache>
            </c:numRef>
          </c:cat>
          <c:val>
            <c:numRef>
              <c:f>'Hourly Volume Usage (Monthly)'!$B$2:$B$25</c:f>
              <c:numCache>
                <c:formatCode>General</c:formatCode>
                <c:ptCount val="24"/>
                <c:pt idx="0">
                  <c:v>171.9</c:v>
                </c:pt>
                <c:pt idx="1">
                  <c:v>114.98</c:v>
                </c:pt>
                <c:pt idx="2">
                  <c:v>94.47</c:v>
                </c:pt>
                <c:pt idx="3">
                  <c:v>82.32</c:v>
                </c:pt>
                <c:pt idx="4">
                  <c:v>83.81</c:v>
                </c:pt>
                <c:pt idx="5">
                  <c:v>129.94999999999999</c:v>
                </c:pt>
                <c:pt idx="6">
                  <c:v>236.88000000000002</c:v>
                </c:pt>
                <c:pt idx="7">
                  <c:v>534.03</c:v>
                </c:pt>
                <c:pt idx="8">
                  <c:v>651.13</c:v>
                </c:pt>
                <c:pt idx="9">
                  <c:v>845.6</c:v>
                </c:pt>
                <c:pt idx="10">
                  <c:v>1004.4399999999999</c:v>
                </c:pt>
                <c:pt idx="11">
                  <c:v>1085.32</c:v>
                </c:pt>
                <c:pt idx="12">
                  <c:v>1156.3499999999999</c:v>
                </c:pt>
                <c:pt idx="13">
                  <c:v>1169.04</c:v>
                </c:pt>
                <c:pt idx="14">
                  <c:v>1132.3399999999999</c:v>
                </c:pt>
                <c:pt idx="15">
                  <c:v>1120.99</c:v>
                </c:pt>
                <c:pt idx="16">
                  <c:v>1032.46</c:v>
                </c:pt>
                <c:pt idx="17">
                  <c:v>1046.08</c:v>
                </c:pt>
                <c:pt idx="18">
                  <c:v>959.43</c:v>
                </c:pt>
                <c:pt idx="19">
                  <c:v>700.8</c:v>
                </c:pt>
                <c:pt idx="20">
                  <c:v>557.05999999999983</c:v>
                </c:pt>
                <c:pt idx="21">
                  <c:v>443.94</c:v>
                </c:pt>
                <c:pt idx="22">
                  <c:v>312.67</c:v>
                </c:pt>
                <c:pt idx="23">
                  <c:v>222.08</c:v>
                </c:pt>
              </c:numCache>
            </c:numRef>
          </c:val>
          <c:extLst xmlns:c16r2="http://schemas.microsoft.com/office/drawing/2015/06/chart">
            <c:ext xmlns:c16="http://schemas.microsoft.com/office/drawing/2014/chart" uri="{C3380CC4-5D6E-409C-BE32-E72D297353CC}">
              <c16:uniqueId val="{00000000-3B23-4EDD-AE5A-1FF1CC05A11B}"/>
            </c:ext>
          </c:extLst>
        </c:ser>
        <c:ser>
          <c:idx val="1"/>
          <c:order val="1"/>
          <c:tx>
            <c:strRef>
              <c:f>'Hourly Volume Usage (Monthly)'!$C$1</c:f>
              <c:strCache>
                <c:ptCount val="1"/>
                <c:pt idx="0">
                  <c:v>Download (GB)</c:v>
                </c:pt>
              </c:strCache>
            </c:strRef>
          </c:tx>
          <c:spPr>
            <a:solidFill>
              <a:srgbClr val="273C88"/>
            </a:solidFill>
            <a:ln>
              <a:noFill/>
            </a:ln>
            <a:effectLst/>
          </c:spPr>
          <c:cat>
            <c:numRef>
              <c:f>'Hourly Volume Usage (Monthly)'!$A$2:$A$25</c:f>
              <c:numCache>
                <c:formatCode>h:mm</c:formatCode>
                <c:ptCount val="24"/>
                <c:pt idx="0">
                  <c:v>0</c:v>
                </c:pt>
                <c:pt idx="1">
                  <c:v>4.1666666666666664E-2</c:v>
                </c:pt>
                <c:pt idx="2">
                  <c:v>8.3333333333333343E-2</c:v>
                </c:pt>
                <c:pt idx="3">
                  <c:v>0.125</c:v>
                </c:pt>
                <c:pt idx="4">
                  <c:v>0.16666666666666666</c:v>
                </c:pt>
                <c:pt idx="5">
                  <c:v>0.20833333333333337</c:v>
                </c:pt>
                <c:pt idx="6">
                  <c:v>0.25</c:v>
                </c:pt>
                <c:pt idx="7">
                  <c:v>0.2916666666666668</c:v>
                </c:pt>
                <c:pt idx="8">
                  <c:v>0.33333333333333331</c:v>
                </c:pt>
                <c:pt idx="9">
                  <c:v>0.37500000000000006</c:v>
                </c:pt>
                <c:pt idx="10">
                  <c:v>0.4166666666666668</c:v>
                </c:pt>
                <c:pt idx="11">
                  <c:v>0.45833333333333326</c:v>
                </c:pt>
                <c:pt idx="12">
                  <c:v>0.5</c:v>
                </c:pt>
                <c:pt idx="13">
                  <c:v>0.54166666666666652</c:v>
                </c:pt>
                <c:pt idx="14">
                  <c:v>0.58333333333333337</c:v>
                </c:pt>
                <c:pt idx="15">
                  <c:v>0.62500000000000011</c:v>
                </c:pt>
                <c:pt idx="16">
                  <c:v>0.66666666666666663</c:v>
                </c:pt>
                <c:pt idx="17">
                  <c:v>0.70833333333333348</c:v>
                </c:pt>
                <c:pt idx="18">
                  <c:v>0.75000000000000011</c:v>
                </c:pt>
                <c:pt idx="19">
                  <c:v>0.79166666666666652</c:v>
                </c:pt>
                <c:pt idx="20">
                  <c:v>0.83333333333333348</c:v>
                </c:pt>
                <c:pt idx="21">
                  <c:v>0.87500000000000011</c:v>
                </c:pt>
                <c:pt idx="22">
                  <c:v>0.91666666666666652</c:v>
                </c:pt>
                <c:pt idx="23">
                  <c:v>0.95833333333333348</c:v>
                </c:pt>
              </c:numCache>
            </c:numRef>
          </c:cat>
          <c:val>
            <c:numRef>
              <c:f>'Hourly Volume Usage (Monthly)'!$C$2:$C$25</c:f>
              <c:numCache>
                <c:formatCode>General</c:formatCode>
                <c:ptCount val="24"/>
                <c:pt idx="0">
                  <c:v>2375.9499999999998</c:v>
                </c:pt>
                <c:pt idx="1">
                  <c:v>1729.43</c:v>
                </c:pt>
                <c:pt idx="2">
                  <c:v>1334.35</c:v>
                </c:pt>
                <c:pt idx="3">
                  <c:v>1079.6899999999998</c:v>
                </c:pt>
                <c:pt idx="4">
                  <c:v>1071.53</c:v>
                </c:pt>
                <c:pt idx="5">
                  <c:v>1544.77</c:v>
                </c:pt>
                <c:pt idx="6">
                  <c:v>2947.29</c:v>
                </c:pt>
                <c:pt idx="7">
                  <c:v>6415.6600000000008</c:v>
                </c:pt>
                <c:pt idx="8">
                  <c:v>7845.95</c:v>
                </c:pt>
                <c:pt idx="9">
                  <c:v>10706.25</c:v>
                </c:pt>
                <c:pt idx="10">
                  <c:v>13291.97</c:v>
                </c:pt>
                <c:pt idx="11">
                  <c:v>14807.240000000002</c:v>
                </c:pt>
                <c:pt idx="12">
                  <c:v>15893.720000000001</c:v>
                </c:pt>
                <c:pt idx="13">
                  <c:v>16439.149999999998</c:v>
                </c:pt>
                <c:pt idx="14">
                  <c:v>15754.31</c:v>
                </c:pt>
                <c:pt idx="15">
                  <c:v>15986.41</c:v>
                </c:pt>
                <c:pt idx="16">
                  <c:v>15300.55</c:v>
                </c:pt>
                <c:pt idx="17">
                  <c:v>15207.99</c:v>
                </c:pt>
                <c:pt idx="18">
                  <c:v>13886.369999999999</c:v>
                </c:pt>
                <c:pt idx="19">
                  <c:v>10400.59</c:v>
                </c:pt>
                <c:pt idx="20">
                  <c:v>8263.94</c:v>
                </c:pt>
                <c:pt idx="21">
                  <c:v>6403.22</c:v>
                </c:pt>
                <c:pt idx="22">
                  <c:v>4634.13</c:v>
                </c:pt>
                <c:pt idx="23">
                  <c:v>3276.8100000000004</c:v>
                </c:pt>
              </c:numCache>
            </c:numRef>
          </c:val>
          <c:extLst xmlns:c16r2="http://schemas.microsoft.com/office/drawing/2015/06/chart">
            <c:ext xmlns:c16="http://schemas.microsoft.com/office/drawing/2014/chart" uri="{C3380CC4-5D6E-409C-BE32-E72D297353CC}">
              <c16:uniqueId val="{00000001-3B23-4EDD-AE5A-1FF1CC05A11B}"/>
            </c:ext>
          </c:extLst>
        </c:ser>
        <c:dLbls/>
        <c:overlap val="100"/>
        <c:axId val="96515584"/>
        <c:axId val="96514048"/>
      </c:barChart>
      <c:lineChart>
        <c:grouping val="stacked"/>
        <c:ser>
          <c:idx val="2"/>
          <c:order val="2"/>
          <c:tx>
            <c:strRef>
              <c:f>'Hourly Volume Usage (Monthly)'!$D$1</c:f>
              <c:strCache>
                <c:ptCount val="1"/>
                <c:pt idx="0">
                  <c:v>Total (GB)</c:v>
                </c:pt>
              </c:strCache>
            </c:strRef>
          </c:tx>
          <c:spPr>
            <a:ln w="28575" cap="rnd">
              <a:noFill/>
              <a:round/>
            </a:ln>
            <a:effectLst/>
          </c:spPr>
          <c:marker>
            <c:symbol val="circle"/>
            <c:size val="5"/>
            <c:spPr>
              <a:solidFill>
                <a:srgbClr val="C8187D"/>
              </a:solidFill>
              <a:ln w="9525">
                <a:solidFill>
                  <a:schemeClr val="bg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dLblPos val="t"/>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Hourly Volume Usage (Monthly)'!$A$2:$A$25</c:f>
              <c:numCache>
                <c:formatCode>h:mm</c:formatCode>
                <c:ptCount val="24"/>
                <c:pt idx="0">
                  <c:v>0</c:v>
                </c:pt>
                <c:pt idx="1">
                  <c:v>4.1666666666666664E-2</c:v>
                </c:pt>
                <c:pt idx="2">
                  <c:v>8.3333333333333343E-2</c:v>
                </c:pt>
                <c:pt idx="3">
                  <c:v>0.125</c:v>
                </c:pt>
                <c:pt idx="4">
                  <c:v>0.16666666666666666</c:v>
                </c:pt>
                <c:pt idx="5">
                  <c:v>0.20833333333333337</c:v>
                </c:pt>
                <c:pt idx="6">
                  <c:v>0.25</c:v>
                </c:pt>
                <c:pt idx="7">
                  <c:v>0.2916666666666668</c:v>
                </c:pt>
                <c:pt idx="8">
                  <c:v>0.33333333333333331</c:v>
                </c:pt>
                <c:pt idx="9">
                  <c:v>0.37500000000000006</c:v>
                </c:pt>
                <c:pt idx="10">
                  <c:v>0.4166666666666668</c:v>
                </c:pt>
                <c:pt idx="11">
                  <c:v>0.45833333333333326</c:v>
                </c:pt>
                <c:pt idx="12">
                  <c:v>0.5</c:v>
                </c:pt>
                <c:pt idx="13">
                  <c:v>0.54166666666666652</c:v>
                </c:pt>
                <c:pt idx="14">
                  <c:v>0.58333333333333337</c:v>
                </c:pt>
                <c:pt idx="15">
                  <c:v>0.62500000000000011</c:v>
                </c:pt>
                <c:pt idx="16">
                  <c:v>0.66666666666666663</c:v>
                </c:pt>
                <c:pt idx="17">
                  <c:v>0.70833333333333348</c:v>
                </c:pt>
                <c:pt idx="18">
                  <c:v>0.75000000000000011</c:v>
                </c:pt>
                <c:pt idx="19">
                  <c:v>0.79166666666666652</c:v>
                </c:pt>
                <c:pt idx="20">
                  <c:v>0.83333333333333348</c:v>
                </c:pt>
                <c:pt idx="21">
                  <c:v>0.87500000000000011</c:v>
                </c:pt>
                <c:pt idx="22">
                  <c:v>0.91666666666666652</c:v>
                </c:pt>
                <c:pt idx="23">
                  <c:v>0.95833333333333348</c:v>
                </c:pt>
              </c:numCache>
            </c:numRef>
          </c:cat>
          <c:val>
            <c:numRef>
              <c:f>'Hourly Volume Usage (Monthly)'!$D$2:$D$25</c:f>
              <c:numCache>
                <c:formatCode>General</c:formatCode>
                <c:ptCount val="24"/>
                <c:pt idx="0">
                  <c:v>2547.84</c:v>
                </c:pt>
                <c:pt idx="1">
                  <c:v>1844.41</c:v>
                </c:pt>
                <c:pt idx="2">
                  <c:v>1428.82</c:v>
                </c:pt>
                <c:pt idx="3">
                  <c:v>1162.01</c:v>
                </c:pt>
                <c:pt idx="4">
                  <c:v>1155.3399999999999</c:v>
                </c:pt>
                <c:pt idx="5">
                  <c:v>1674.72</c:v>
                </c:pt>
                <c:pt idx="6">
                  <c:v>3184.16</c:v>
                </c:pt>
                <c:pt idx="7">
                  <c:v>6949.6900000000005</c:v>
                </c:pt>
                <c:pt idx="8">
                  <c:v>8497.08</c:v>
                </c:pt>
                <c:pt idx="9">
                  <c:v>11551.849999999999</c:v>
                </c:pt>
                <c:pt idx="10">
                  <c:v>14296.41</c:v>
                </c:pt>
                <c:pt idx="11">
                  <c:v>15892.56</c:v>
                </c:pt>
                <c:pt idx="12">
                  <c:v>17050.07</c:v>
                </c:pt>
                <c:pt idx="13">
                  <c:v>17608.189999999995</c:v>
                </c:pt>
                <c:pt idx="14">
                  <c:v>16886.66</c:v>
                </c:pt>
                <c:pt idx="15">
                  <c:v>17107.400000000001</c:v>
                </c:pt>
                <c:pt idx="16">
                  <c:v>16333.01</c:v>
                </c:pt>
                <c:pt idx="17">
                  <c:v>16254.07</c:v>
                </c:pt>
                <c:pt idx="18">
                  <c:v>14845.8</c:v>
                </c:pt>
                <c:pt idx="19">
                  <c:v>11101.39</c:v>
                </c:pt>
                <c:pt idx="20">
                  <c:v>8821</c:v>
                </c:pt>
                <c:pt idx="21">
                  <c:v>6847.1600000000008</c:v>
                </c:pt>
                <c:pt idx="22">
                  <c:v>4946.8</c:v>
                </c:pt>
                <c:pt idx="23">
                  <c:v>3498.8900000000003</c:v>
                </c:pt>
              </c:numCache>
            </c:numRef>
          </c:val>
          <c:extLst xmlns:c16r2="http://schemas.microsoft.com/office/drawing/2015/06/chart">
            <c:ext xmlns:c16="http://schemas.microsoft.com/office/drawing/2014/chart" uri="{C3380CC4-5D6E-409C-BE32-E72D297353CC}">
              <c16:uniqueId val="{00000002-3B23-4EDD-AE5A-1FF1CC05A11B}"/>
            </c:ext>
          </c:extLst>
        </c:ser>
        <c:dLbls/>
        <c:marker val="1"/>
        <c:axId val="96498432"/>
        <c:axId val="96499968"/>
      </c:lineChart>
      <c:catAx>
        <c:axId val="96498432"/>
        <c:scaling>
          <c:orientation val="minMax"/>
        </c:scaling>
        <c:axPos val="b"/>
        <c:numFmt formatCode="h:mm"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499968"/>
        <c:crosses val="autoZero"/>
        <c:auto val="1"/>
        <c:lblAlgn val="ctr"/>
        <c:lblOffset val="100"/>
      </c:catAx>
      <c:valAx>
        <c:axId val="96499968"/>
        <c:scaling>
          <c:orientation val="minMax"/>
        </c:scaling>
        <c:delete val="1"/>
        <c:axPos val="l"/>
        <c:numFmt formatCode="General" sourceLinked="1"/>
        <c:majorTickMark val="none"/>
        <c:tickLblPos val="none"/>
        <c:crossAx val="96498432"/>
        <c:crosses val="autoZero"/>
        <c:crossBetween val="between"/>
      </c:valAx>
      <c:valAx>
        <c:axId val="96514048"/>
        <c:scaling>
          <c:orientation val="minMax"/>
        </c:scaling>
        <c:delete val="1"/>
        <c:axPos val="r"/>
        <c:numFmt formatCode="General" sourceLinked="1"/>
        <c:tickLblPos val="none"/>
        <c:crossAx val="96515584"/>
        <c:crosses val="max"/>
        <c:crossBetween val="between"/>
      </c:valAx>
      <c:catAx>
        <c:axId val="96515584"/>
        <c:scaling>
          <c:orientation val="minMax"/>
        </c:scaling>
        <c:delete val="1"/>
        <c:axPos val="b"/>
        <c:numFmt formatCode="h:mm" sourceLinked="1"/>
        <c:tickLblPos val="none"/>
        <c:crossAx val="96514048"/>
        <c:crosses val="autoZero"/>
        <c:auto val="1"/>
        <c:lblAlgn val="ctr"/>
        <c:lblOffset val="100"/>
      </c:catAx>
      <c:spPr>
        <a:noFill/>
        <a:ln>
          <a:noFill/>
        </a:ln>
        <a:effectLst/>
      </c:spPr>
    </c:plotArea>
    <c:legend>
      <c:legendPos val="b"/>
      <c:layout>
        <c:manualLayout>
          <c:xMode val="edge"/>
          <c:yMode val="edge"/>
          <c:x val="6.3869985246232275E-2"/>
          <c:y val="0.3539503932244405"/>
          <c:w val="0.19488295296515892"/>
          <c:h val="3.3784020240713156E-2"/>
        </c:manualLayout>
      </c:layout>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57333" cy="35549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303304" y="0"/>
            <a:ext cx="4057333" cy="355492"/>
          </a:xfrm>
          <a:prstGeom prst="rect">
            <a:avLst/>
          </a:prstGeom>
        </p:spPr>
        <p:txBody>
          <a:bodyPr vert="horz" lIns="91440" tIns="45720" rIns="91440" bIns="45720" rtlCol="0"/>
          <a:lstStyle>
            <a:lvl1pPr algn="r">
              <a:defRPr sz="1200"/>
            </a:lvl1pPr>
          </a:lstStyle>
          <a:p>
            <a:fld id="{72F36D7E-C5E4-9940-8A13-94D65C65206E}" type="datetimeFigureOut">
              <a:rPr lang="en-US" smtClean="0"/>
              <a:pPr/>
              <a:t>6/3/2022</a:t>
            </a:fld>
            <a:endParaRPr lang="en-US"/>
          </a:p>
        </p:txBody>
      </p:sp>
      <p:sp>
        <p:nvSpPr>
          <p:cNvPr id="4" name="Slide Image Placeholder 3"/>
          <p:cNvSpPr>
            <a:spLocks noGrp="1" noRot="1" noChangeAspect="1"/>
          </p:cNvSpPr>
          <p:nvPr>
            <p:ph type="sldImg" idx="2"/>
          </p:nvPr>
        </p:nvSpPr>
        <p:spPr>
          <a:xfrm>
            <a:off x="2559050" y="884238"/>
            <a:ext cx="4244975" cy="23891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36308" y="3405843"/>
            <a:ext cx="7490460" cy="2786598"/>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721584"/>
            <a:ext cx="4057333" cy="355491"/>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303304" y="6721584"/>
            <a:ext cx="4057333" cy="355491"/>
          </a:xfrm>
          <a:prstGeom prst="rect">
            <a:avLst/>
          </a:prstGeom>
        </p:spPr>
        <p:txBody>
          <a:bodyPr vert="horz" lIns="91440" tIns="45720" rIns="91440" bIns="45720" rtlCol="0" anchor="b"/>
          <a:lstStyle>
            <a:lvl1pPr algn="r">
              <a:defRPr sz="1200"/>
            </a:lvl1pPr>
          </a:lstStyle>
          <a:p>
            <a:fld id="{2BB5EA89-F20A-AA43-AB11-ED513EA58562}" type="slidenum">
              <a:rPr lang="en-US" smtClean="0"/>
              <a:pPr/>
              <a:t>‹#›</a:t>
            </a:fld>
            <a:endParaRPr lang="en-US"/>
          </a:p>
        </p:txBody>
      </p:sp>
    </p:spTree>
    <p:extLst>
      <p:ext uri="{BB962C8B-B14F-4D97-AF65-F5344CB8AC3E}">
        <p14:creationId xmlns:p14="http://schemas.microsoft.com/office/powerpoint/2010/main" xmlns="" val="7700280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BB4B80-803E-430F-BA04-442276934A2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235013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4066266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4671850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2242795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195D1F-8F5D-42BF-8365-9A309BEBD1D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445272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195D1F-8F5D-42BF-8365-9A309BEBD1D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6533985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195D1F-8F5D-42BF-8365-9A309BEBD1D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868192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BB4B80-803E-430F-BA04-442276934A2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323310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025923F-580B-A047-9C0E-6EE78A3965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3016993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E2FE1A-9891-4CCD-99FF-3144173DF1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1639914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37667539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E2897E-B052-44CE-92A6-D4B2AB10F3F6}"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xmlns="" val="8592573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2.xml"/><Relationship Id="rId1" Type="http://schemas.openxmlformats.org/officeDocument/2006/relationships/tags" Target="../tags/tag51.xml"/><Relationship Id="rId4" Type="http://schemas.openxmlformats.org/officeDocument/2006/relationships/image" Target="../media/image10.pn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6.xml"/><Relationship Id="rId1" Type="http://schemas.openxmlformats.org/officeDocument/2006/relationships/tags" Target="../tags/tag5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ags" Target="../tags/tag9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tags" Target="../tags/tag9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8.xml"/><Relationship Id="rId1" Type="http://schemas.openxmlformats.org/officeDocument/2006/relationships/tags" Target="../tags/tag9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0.xml"/><Relationship Id="rId1" Type="http://schemas.openxmlformats.org/officeDocument/2006/relationships/tags" Target="../tags/tag9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2.xml"/><Relationship Id="rId1" Type="http://schemas.openxmlformats.org/officeDocument/2006/relationships/tags" Target="../tags/tag10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4.xml"/><Relationship Id="rId1" Type="http://schemas.openxmlformats.org/officeDocument/2006/relationships/tags" Target="../tags/tag10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393701" y="1196753"/>
            <a:ext cx="11462940"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70883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396064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6596364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393701" y="1412777"/>
            <a:ext cx="11462940"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34438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670318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0546683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393701" y="1196752"/>
            <a:ext cx="11462940"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989933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528360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20810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340366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232852"/>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033947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82462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76200" y="5516881"/>
            <a:ext cx="1211580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331765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663833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324599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646489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994798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4220997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8180943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431129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232852"/>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854375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846701" y="1734838"/>
            <a:ext cx="3790448"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393700" y="565702"/>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38814427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1"/>
            <a:ext cx="12192000" cy="246743"/>
          </a:xfrm>
          <a:prstGeom prst="rect">
            <a:avLst/>
          </a:prstGeom>
        </p:spPr>
      </p:pic>
    </p:spTree>
    <p:extLst>
      <p:ext uri="{BB962C8B-B14F-4D97-AF65-F5344CB8AC3E}">
        <p14:creationId xmlns:p14="http://schemas.microsoft.com/office/powerpoint/2010/main" xmlns="" val="2690595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530F3A0-BC6B-4F9E-85CD-E8AD9F44484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2740685A-818D-4644-BEC2-7F9C972C35E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96F64A0E-17F5-4D4F-A93F-9011B9D348FD}"/>
              </a:ext>
            </a:extLst>
          </p:cNvPr>
          <p:cNvSpPr>
            <a:spLocks noGrp="1"/>
          </p:cNvSpPr>
          <p:nvPr>
            <p:ph type="dt" sz="half" idx="10"/>
          </p:nvPr>
        </p:nvSpPr>
        <p:spPr/>
        <p:txBody>
          <a:bodyPr/>
          <a:lstStyle/>
          <a:p>
            <a:fld id="{CC7CBEC5-A67F-4BE5-9D24-75F24FD58807}" type="datetimeFigureOut">
              <a:rPr lang="en-US" smtClean="0"/>
              <a:pPr/>
              <a:t>6/3/2022</a:t>
            </a:fld>
            <a:endParaRPr lang="en-US"/>
          </a:p>
        </p:txBody>
      </p:sp>
      <p:sp>
        <p:nvSpPr>
          <p:cNvPr id="5" name="Footer Placeholder 4">
            <a:extLst>
              <a:ext uri="{FF2B5EF4-FFF2-40B4-BE49-F238E27FC236}">
                <a16:creationId xmlns:a16="http://schemas.microsoft.com/office/drawing/2014/main" xmlns="" id="{539E013C-35E8-40D5-86EF-EA60FD14312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xmlns="" id="{EC7E76B2-4F0A-4F4B-AC54-50971A464A31}"/>
              </a:ext>
            </a:extLst>
          </p:cNvPr>
          <p:cNvSpPr>
            <a:spLocks noGrp="1"/>
          </p:cNvSpPr>
          <p:nvPr>
            <p:ph type="sldNum" sz="quarter" idx="12"/>
          </p:nvPr>
        </p:nvSpPr>
        <p:spPr/>
        <p:txBody>
          <a:bodyPr/>
          <a:lstStyle/>
          <a:p>
            <a:fld id="{C941127D-FD47-4D99-B203-88477566BCD9}" type="slidenum">
              <a:rPr lang="en-US" smtClean="0"/>
              <a:pPr/>
              <a:t>‹#›</a:t>
            </a:fld>
            <a:endParaRPr lang="en-US"/>
          </a:p>
        </p:txBody>
      </p:sp>
    </p:spTree>
    <p:extLst>
      <p:ext uri="{BB962C8B-B14F-4D97-AF65-F5344CB8AC3E}">
        <p14:creationId xmlns:p14="http://schemas.microsoft.com/office/powerpoint/2010/main" xmlns="" val="6848550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22030242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205762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220284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4242861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36677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550377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232852"/>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4249725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5814433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13592442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7836177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473554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23983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846114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733755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782992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89295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1384"/>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40616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191388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879908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0722545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718620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520960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16917579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197558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6/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xmlns="" val="24676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28295925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453034" y="259207"/>
            <a:ext cx="11285931" cy="369332"/>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505665"/>
            <a:ext cx="685867" cy="155803"/>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B6F15528-21DE-4FAA-801E-634DDDAF4B2B}" type="slidenum">
              <a:rPr lang="en-GB" smtClean="0"/>
              <a:pPr/>
              <a:t>‹#›</a:t>
            </a:fld>
            <a:endParaRPr lang="en-GB"/>
          </a:p>
        </p:txBody>
      </p:sp>
      <p:sp>
        <p:nvSpPr>
          <p:cNvPr id="5" name="Text Placeholder 4"/>
          <p:cNvSpPr>
            <a:spLocks noGrp="1"/>
          </p:cNvSpPr>
          <p:nvPr>
            <p:ph type="body" sz="quarter" idx="10" hasCustomPrompt="1"/>
          </p:nvPr>
        </p:nvSpPr>
        <p:spPr>
          <a:xfrm>
            <a:off x="393702" y="5681856"/>
            <a:ext cx="11462940" cy="409469"/>
          </a:xfrm>
        </p:spPr>
        <p:txBody>
          <a:bodyPr bIns="0" anchor="b">
            <a:noAutofit/>
          </a:bodyPr>
          <a:lstStyle>
            <a:lvl1pPr>
              <a:spcBef>
                <a:spcPts val="0"/>
              </a:spcBef>
              <a:defRPr sz="48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6" y="6552414"/>
            <a:ext cx="5518097" cy="146570"/>
          </a:xfrm>
          <a:prstGeom prst="rect">
            <a:avLst/>
          </a:prstGeom>
        </p:spPr>
        <p:txBody>
          <a:bodyPr vert="horz" lIns="0" tIns="72000" rIns="72000" bIns="0" rtlCol="0" anchor="b"/>
          <a:lstStyle>
            <a:lvl1pPr algn="l">
              <a:defRPr sz="480">
                <a:solidFill>
                  <a:schemeClr val="accent3"/>
                </a:solidFill>
              </a:defRPr>
            </a:lvl1pPr>
          </a:lstStyle>
          <a:p>
            <a:endParaRPr lang="en-GB" dirty="0"/>
          </a:p>
        </p:txBody>
      </p:sp>
      <p:sp>
        <p:nvSpPr>
          <p:cNvPr id="9" name="Text Placeholder 4"/>
          <p:cNvSpPr>
            <a:spLocks noGrp="1"/>
          </p:cNvSpPr>
          <p:nvPr>
            <p:ph type="body" sz="quarter" idx="11"/>
          </p:nvPr>
        </p:nvSpPr>
        <p:spPr>
          <a:xfrm>
            <a:off x="393702" y="1196753"/>
            <a:ext cx="11462940" cy="13849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631197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232852"/>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307911466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232852"/>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17811679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232852"/>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421294484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1384"/>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11158300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369332"/>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77964"/>
            <a:ext cx="685867" cy="211203"/>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503168"/>
            <a:ext cx="5518097" cy="195814"/>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98459274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505665"/>
            <a:ext cx="685867" cy="155803"/>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B6F15528-21DE-4FAA-801E-634DDDAF4B2B}" type="slidenum">
              <a:rPr lang="en-GB" smtClean="0"/>
              <a:pPr/>
              <a:t>‹#›</a:t>
            </a:fld>
            <a:endParaRPr lang="en-GB"/>
          </a:p>
        </p:txBody>
      </p:sp>
      <p:sp>
        <p:nvSpPr>
          <p:cNvPr id="6" name="Footer Placeholder 4"/>
          <p:cNvSpPr>
            <a:spLocks noGrp="1"/>
          </p:cNvSpPr>
          <p:nvPr>
            <p:ph type="ftr" sz="quarter" idx="3"/>
            <p:custDataLst>
              <p:tags r:id="rId2"/>
            </p:custDataLst>
          </p:nvPr>
        </p:nvSpPr>
        <p:spPr>
          <a:xfrm>
            <a:off x="5390776" y="6552414"/>
            <a:ext cx="5518097" cy="146570"/>
          </a:xfrm>
          <a:prstGeom prst="rect">
            <a:avLst/>
          </a:prstGeom>
        </p:spPr>
        <p:txBody>
          <a:bodyPr vert="horz" lIns="0" tIns="72000" rIns="72000" bIns="0" rtlCol="0" anchor="b"/>
          <a:lstStyle>
            <a:lvl1pPr algn="l">
              <a:defRPr sz="480">
                <a:solidFill>
                  <a:schemeClr val="accent3"/>
                </a:solidFill>
              </a:defRPr>
            </a:lvl1pPr>
          </a:lstStyle>
          <a:p>
            <a:endParaRPr lang="en-GB" dirty="0"/>
          </a:p>
        </p:txBody>
      </p:sp>
      <p:sp>
        <p:nvSpPr>
          <p:cNvPr id="10" name="Text Placeholder 4"/>
          <p:cNvSpPr>
            <a:spLocks noGrp="1"/>
          </p:cNvSpPr>
          <p:nvPr>
            <p:ph type="body" sz="quarter" idx="10"/>
          </p:nvPr>
        </p:nvSpPr>
        <p:spPr>
          <a:xfrm>
            <a:off x="393702" y="1196756"/>
            <a:ext cx="11462940" cy="13849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561790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7"/>
            <a:ext cx="11462940" cy="369332"/>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6"/>
            <a:ext cx="11462940"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4" y="6505665"/>
            <a:ext cx="685867" cy="155803"/>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B6F15528-21DE-4FAA-801E-634DDDAF4B2B}" type="slidenum">
              <a:rPr lang="en-GB" smtClean="0"/>
              <a:pPr/>
              <a:t>‹#›</a:t>
            </a:fld>
            <a:endParaRPr lang="en-GB"/>
          </a:p>
        </p:txBody>
      </p:sp>
      <p:sp>
        <p:nvSpPr>
          <p:cNvPr id="6" name="Footer Placeholder 4"/>
          <p:cNvSpPr>
            <a:spLocks noGrp="1"/>
          </p:cNvSpPr>
          <p:nvPr>
            <p:ph type="ftr" sz="quarter" idx="3"/>
            <p:custDataLst>
              <p:tags r:id="rId2"/>
            </p:custDataLst>
          </p:nvPr>
        </p:nvSpPr>
        <p:spPr>
          <a:xfrm>
            <a:off x="5390776" y="6552414"/>
            <a:ext cx="5518097" cy="146570"/>
          </a:xfrm>
          <a:prstGeom prst="rect">
            <a:avLst/>
          </a:prstGeom>
        </p:spPr>
        <p:txBody>
          <a:bodyPr vert="horz" lIns="0" tIns="72000" rIns="72000" bIns="0" rtlCol="0" anchor="b"/>
          <a:lstStyle>
            <a:lvl1pPr algn="l">
              <a:defRPr sz="480">
                <a:solidFill>
                  <a:schemeClr val="accent3"/>
                </a:solidFill>
              </a:defRPr>
            </a:lvl1pPr>
          </a:lstStyle>
          <a:p>
            <a:endParaRPr lang="en-GB" dirty="0"/>
          </a:p>
        </p:txBody>
      </p:sp>
    </p:spTree>
    <p:extLst>
      <p:ext uri="{BB962C8B-B14F-4D97-AF65-F5344CB8AC3E}">
        <p14:creationId xmlns:p14="http://schemas.microsoft.com/office/powerpoint/2010/main" xmlns="" val="395838447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453034" y="259207"/>
            <a:ext cx="11285931" cy="369332"/>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4" y="6505665"/>
            <a:ext cx="685867" cy="155803"/>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B6F15528-21DE-4FAA-801E-634DDDAF4B2B}" type="slidenum">
              <a:rPr lang="en-GB" smtClean="0"/>
              <a:pPr/>
              <a:t>‹#›</a:t>
            </a:fld>
            <a:endParaRPr lang="en-GB"/>
          </a:p>
        </p:txBody>
      </p:sp>
      <p:sp>
        <p:nvSpPr>
          <p:cNvPr id="5" name="Text Placeholder 4"/>
          <p:cNvSpPr>
            <a:spLocks noGrp="1"/>
          </p:cNvSpPr>
          <p:nvPr>
            <p:ph type="body" sz="quarter" idx="10" hasCustomPrompt="1"/>
          </p:nvPr>
        </p:nvSpPr>
        <p:spPr>
          <a:xfrm>
            <a:off x="393702" y="5681856"/>
            <a:ext cx="11462940" cy="409469"/>
          </a:xfrm>
        </p:spPr>
        <p:txBody>
          <a:bodyPr bIns="0" anchor="b">
            <a:noAutofit/>
          </a:bodyPr>
          <a:lstStyle>
            <a:lvl1pPr>
              <a:spcBef>
                <a:spcPts val="0"/>
              </a:spcBef>
              <a:defRPr sz="48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6" y="6552414"/>
            <a:ext cx="5518097" cy="146570"/>
          </a:xfrm>
          <a:prstGeom prst="rect">
            <a:avLst/>
          </a:prstGeom>
        </p:spPr>
        <p:txBody>
          <a:bodyPr vert="horz" lIns="0" tIns="72000" rIns="72000" bIns="0" rtlCol="0" anchor="b"/>
          <a:lstStyle>
            <a:lvl1pPr algn="l">
              <a:defRPr sz="480">
                <a:solidFill>
                  <a:schemeClr val="accent3"/>
                </a:solidFill>
              </a:defRPr>
            </a:lvl1pPr>
          </a:lstStyle>
          <a:p>
            <a:endParaRPr lang="en-GB" dirty="0"/>
          </a:p>
        </p:txBody>
      </p:sp>
      <p:sp>
        <p:nvSpPr>
          <p:cNvPr id="9" name="Text Placeholder 4"/>
          <p:cNvSpPr>
            <a:spLocks noGrp="1"/>
          </p:cNvSpPr>
          <p:nvPr>
            <p:ph type="body" sz="quarter" idx="11"/>
          </p:nvPr>
        </p:nvSpPr>
        <p:spPr>
          <a:xfrm>
            <a:off x="393702" y="1196753"/>
            <a:ext cx="11462940" cy="13849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3996389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7"/>
            <a:ext cx="11462940" cy="369332"/>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6"/>
            <a:ext cx="11462940"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4" y="6505665"/>
            <a:ext cx="685867" cy="155803"/>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6" y="6552414"/>
            <a:ext cx="5518097" cy="146570"/>
          </a:xfrm>
          <a:prstGeom prst="rect">
            <a:avLst/>
          </a:prstGeom>
        </p:spPr>
        <p:txBody>
          <a:bodyPr vert="horz" lIns="0" tIns="72000" rIns="72000" bIns="0" rtlCol="0" anchor="b"/>
          <a:lstStyle>
            <a:lvl1pPr algn="l">
              <a:defRPr sz="480">
                <a:solidFill>
                  <a:schemeClr val="accent3"/>
                </a:solidFill>
              </a:defRPr>
            </a:lvl1pPr>
          </a:lstStyle>
          <a:p>
            <a:endParaRPr lang="en-GB" dirty="0"/>
          </a:p>
        </p:txBody>
      </p:sp>
      <p:sp>
        <p:nvSpPr>
          <p:cNvPr id="14" name="Text Placeholder 4"/>
          <p:cNvSpPr>
            <a:spLocks noGrp="1"/>
          </p:cNvSpPr>
          <p:nvPr>
            <p:ph type="body" sz="quarter" idx="14"/>
          </p:nvPr>
        </p:nvSpPr>
        <p:spPr>
          <a:xfrm>
            <a:off x="393699" y="1412784"/>
            <a:ext cx="5414270" cy="4680049"/>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84"/>
            <a:ext cx="5414270" cy="4680049"/>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9671536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8D6F25-228A-4A68-98AA-C2C6564F414E}"/>
              </a:ext>
            </a:extLst>
          </p:cNvPr>
          <p:cNvSpPr>
            <a:spLocks noGrp="1"/>
          </p:cNvSpPr>
          <p:nvPr>
            <p:ph type="title"/>
          </p:nvPr>
        </p:nvSpPr>
        <p:spPr>
          <a:xfrm>
            <a:off x="453034" y="259207"/>
            <a:ext cx="11285931" cy="369332"/>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xmlns="" id="{467D04C8-0250-4103-8705-C9F528EA30FD}"/>
              </a:ext>
            </a:extLst>
          </p:cNvPr>
          <p:cNvSpPr>
            <a:spLocks noGrp="1"/>
          </p:cNvSpPr>
          <p:nvPr>
            <p:ph type="sldNum" sz="quarter" idx="10"/>
          </p:nvPr>
        </p:nvSpPr>
        <p:spPr>
          <a:xfrm>
            <a:off x="8778240" y="6377940"/>
            <a:ext cx="2804160" cy="276999"/>
          </a:xfrm>
        </p:spPr>
        <p:txBody>
          <a:bodyPr/>
          <a:lstStyle/>
          <a:p>
            <a:fld id="{B6F15528-21DE-4FAA-801E-634DDDAF4B2B}" type="slidenum">
              <a:rPr lang="en-GB" smtClean="0"/>
              <a:pPr/>
              <a:t>‹#›</a:t>
            </a:fld>
            <a:endParaRPr lang="en-GB"/>
          </a:p>
        </p:txBody>
      </p:sp>
      <p:sp>
        <p:nvSpPr>
          <p:cNvPr id="4" name="Footer Placeholder 3">
            <a:extLst>
              <a:ext uri="{FF2B5EF4-FFF2-40B4-BE49-F238E27FC236}">
                <a16:creationId xmlns:a16="http://schemas.microsoft.com/office/drawing/2014/main" xmlns="" id="{C294F8D4-6490-414F-A046-CA45C57BBDF0}"/>
              </a:ext>
            </a:extLst>
          </p:cNvPr>
          <p:cNvSpPr>
            <a:spLocks noGrp="1"/>
          </p:cNvSpPr>
          <p:nvPr>
            <p:ph type="ftr" sz="quarter" idx="11"/>
          </p:nvPr>
        </p:nvSpPr>
        <p:spPr>
          <a:xfrm>
            <a:off x="4145280" y="6377940"/>
            <a:ext cx="3901440" cy="276999"/>
          </a:xfrm>
        </p:spPr>
        <p:txBody>
          <a:bodyPr/>
          <a:lstStyle/>
          <a:p>
            <a:endParaRPr lang="en-GB" dirty="0"/>
          </a:p>
        </p:txBody>
      </p:sp>
    </p:spTree>
    <p:extLst>
      <p:ext uri="{BB962C8B-B14F-4D97-AF65-F5344CB8AC3E}">
        <p14:creationId xmlns:p14="http://schemas.microsoft.com/office/powerpoint/2010/main" xmlns="" val="6397252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7"/>
            <a:ext cx="11462940" cy="369332"/>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6"/>
            <a:ext cx="11462940" cy="288925"/>
          </a:xfrm>
        </p:spPr>
        <p:txBody>
          <a:bodyPr anchor="ctr">
            <a:noAutofit/>
          </a:bodyPr>
          <a:lstStyle>
            <a:lvl1pPr>
              <a:defRPr sz="108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4" y="6505665"/>
            <a:ext cx="685867" cy="155803"/>
          </a:xfrm>
          <a:prstGeom prst="rect">
            <a:avLst/>
          </a:prstGeom>
        </p:spPr>
        <p:txBody>
          <a:bodyPr vert="horz" lIns="72000" tIns="72000" rIns="0" bIns="0" rtlCol="0" anchor="ctr"/>
          <a:lstStyle>
            <a:lvl1pPr algn="r">
              <a:defRPr sz="54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6" y="6552414"/>
            <a:ext cx="5518097" cy="146570"/>
          </a:xfrm>
          <a:prstGeom prst="rect">
            <a:avLst/>
          </a:prstGeom>
        </p:spPr>
        <p:txBody>
          <a:bodyPr vert="horz" lIns="0" tIns="72000" rIns="72000" bIns="0" rtlCol="0" anchor="b"/>
          <a:lstStyle>
            <a:lvl1pPr algn="l">
              <a:defRPr sz="480">
                <a:solidFill>
                  <a:schemeClr val="accent3"/>
                </a:solidFill>
              </a:defRPr>
            </a:lvl1pPr>
          </a:lstStyle>
          <a:p>
            <a:endParaRPr lang="en-GB" dirty="0"/>
          </a:p>
        </p:txBody>
      </p:sp>
      <p:sp>
        <p:nvSpPr>
          <p:cNvPr id="14" name="Text Placeholder 4"/>
          <p:cNvSpPr>
            <a:spLocks noGrp="1"/>
          </p:cNvSpPr>
          <p:nvPr>
            <p:ph type="body" sz="quarter" idx="14"/>
          </p:nvPr>
        </p:nvSpPr>
        <p:spPr>
          <a:xfrm>
            <a:off x="393699" y="1412784"/>
            <a:ext cx="5414270" cy="4680049"/>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84"/>
            <a:ext cx="5414270" cy="4680049"/>
          </a:xfrm>
        </p:spPr>
        <p:txBody>
          <a:bodyPr>
            <a:normAutofit/>
          </a:bodyPr>
          <a:lstStyle>
            <a:lvl1pPr>
              <a:defRPr sz="840"/>
            </a:lvl1pPr>
            <a:lvl2pPr>
              <a:defRPr sz="840"/>
            </a:lvl2pPr>
            <a:lvl3pPr>
              <a:defRPr sz="840"/>
            </a:lvl3pPr>
            <a:lvl4pPr>
              <a:defRPr sz="840"/>
            </a:lvl4pPr>
            <a:lvl5pPr>
              <a:defRPr sz="84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48864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B8D6F25-228A-4A68-98AA-C2C6564F414E}"/>
              </a:ext>
            </a:extLst>
          </p:cNvPr>
          <p:cNvSpPr>
            <a:spLocks noGrp="1"/>
          </p:cNvSpPr>
          <p:nvPr>
            <p:ph type="title"/>
          </p:nvPr>
        </p:nvSpPr>
        <p:spPr>
          <a:xfrm>
            <a:off x="453034" y="259207"/>
            <a:ext cx="11285931" cy="369332"/>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xmlns="" id="{467D04C8-0250-4103-8705-C9F528EA30FD}"/>
              </a:ext>
            </a:extLst>
          </p:cNvPr>
          <p:cNvSpPr>
            <a:spLocks noGrp="1"/>
          </p:cNvSpPr>
          <p:nvPr>
            <p:ph type="sldNum" sz="quarter" idx="10"/>
          </p:nvPr>
        </p:nvSpPr>
        <p:spPr>
          <a:xfrm>
            <a:off x="8778240" y="6377940"/>
            <a:ext cx="2804160" cy="276999"/>
          </a:xfrm>
        </p:spPr>
        <p:txBody>
          <a:bodyPr/>
          <a:lstStyle/>
          <a:p>
            <a:fld id="{B6F15528-21DE-4FAA-801E-634DDDAF4B2B}" type="slidenum">
              <a:rPr lang="en-GB" smtClean="0"/>
              <a:pPr/>
              <a:t>‹#›</a:t>
            </a:fld>
            <a:endParaRPr lang="en-GB"/>
          </a:p>
        </p:txBody>
      </p:sp>
      <p:sp>
        <p:nvSpPr>
          <p:cNvPr id="4" name="Footer Placeholder 3">
            <a:extLst>
              <a:ext uri="{FF2B5EF4-FFF2-40B4-BE49-F238E27FC236}">
                <a16:creationId xmlns:a16="http://schemas.microsoft.com/office/drawing/2014/main" xmlns="" id="{C294F8D4-6490-414F-A046-CA45C57BBDF0}"/>
              </a:ext>
            </a:extLst>
          </p:cNvPr>
          <p:cNvSpPr>
            <a:spLocks noGrp="1"/>
          </p:cNvSpPr>
          <p:nvPr>
            <p:ph type="ftr" sz="quarter" idx="11"/>
          </p:nvPr>
        </p:nvSpPr>
        <p:spPr>
          <a:xfrm>
            <a:off x="4145280" y="6377940"/>
            <a:ext cx="3901440" cy="276999"/>
          </a:xfrm>
        </p:spPr>
        <p:txBody>
          <a:bodyPr/>
          <a:lstStyle/>
          <a:p>
            <a:endParaRPr lang="en-GB" dirty="0"/>
          </a:p>
        </p:txBody>
      </p:sp>
    </p:spTree>
    <p:extLst>
      <p:ext uri="{BB962C8B-B14F-4D97-AF65-F5344CB8AC3E}">
        <p14:creationId xmlns:p14="http://schemas.microsoft.com/office/powerpoint/2010/main" xmlns="" val="24088544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12192000" cy="493486"/>
          </a:xfrm>
          <a:prstGeom prst="rect">
            <a:avLst/>
          </a:prstGeom>
        </p:spPr>
      </p:pic>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3 June 2022</a:t>
            </a:fld>
            <a:endParaRPr lang="en-GB" dirty="0"/>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472935" y="382084"/>
            <a:ext cx="72008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2658284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theme" Target="../theme/theme2.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34" Type="http://schemas.openxmlformats.org/officeDocument/2006/relationships/image" Target="../media/image4.png"/><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image" Target="../media/image3.jpe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tags" Target="../tags/tag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ags" Target="../tags/tag10.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tags" Target="../tags/tag6.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tags" Target="../tags/tag9.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heme" Target="../theme/theme3.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ags" Target="../tags/tag5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image" Target="../media/image5.png"/><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ags" Target="../tags/tag53.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image" Target="../media/image12.png"/><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tags" Target="../tags/tag52.xml"/><Relationship Id="rId30" Type="http://schemas.openxmlformats.org/officeDocument/2006/relationships/image" Target="../media/image1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image" Target="../media/image1.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4.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10" cstate="print"/>
          <a:stretch>
            <a:fillRect/>
          </a:stretch>
        </p:blipFill>
        <p:spPr>
          <a:xfrm>
            <a:off x="410911" y="6378502"/>
            <a:ext cx="849163" cy="261003"/>
          </a:xfrm>
          <a:prstGeom prst="rect">
            <a:avLst/>
          </a:prstGeom>
        </p:spPr>
      </p:pic>
      <p:pic>
        <p:nvPicPr>
          <p:cNvPr id="17" name="bg object 17"/>
          <p:cNvPicPr/>
          <p:nvPr/>
        </p:nvPicPr>
        <p:blipFill>
          <a:blip r:embed="rId11" cstate="print"/>
          <a:stretch>
            <a:fillRect/>
          </a:stretch>
        </p:blipFill>
        <p:spPr>
          <a:xfrm>
            <a:off x="393191" y="932688"/>
            <a:ext cx="11798807" cy="64008"/>
          </a:xfrm>
          <a:prstGeom prst="rect">
            <a:avLst/>
          </a:prstGeom>
        </p:spPr>
      </p:pic>
      <p:sp>
        <p:nvSpPr>
          <p:cNvPr id="2" name="Holder 2"/>
          <p:cNvSpPr>
            <a:spLocks noGrp="1"/>
          </p:cNvSpPr>
          <p:nvPr>
            <p:ph type="title"/>
          </p:nvPr>
        </p:nvSpPr>
        <p:spPr>
          <a:xfrm>
            <a:off x="453034" y="259207"/>
            <a:ext cx="11285931" cy="391159"/>
          </a:xfrm>
          <a:prstGeom prst="rect">
            <a:avLst/>
          </a:prstGeom>
        </p:spPr>
        <p:txBody>
          <a:bodyPr wrap="square" lIns="0" tIns="0" rIns="0" bIns="0">
            <a:spAutoFit/>
          </a:bodyPr>
          <a:lstStyle>
            <a:lvl1pPr>
              <a:defRPr sz="2400" b="1" i="0">
                <a:solidFill>
                  <a:srgbClr val="232852"/>
                </a:solidFill>
                <a:latin typeface="Arial"/>
                <a:cs typeface="Arial"/>
              </a:defRPr>
            </a:lvl1pPr>
          </a:lstStyle>
          <a:p>
            <a:endParaRPr/>
          </a:p>
        </p:txBody>
      </p:sp>
      <p:sp>
        <p:nvSpPr>
          <p:cNvPr id="3" name="Holder 3"/>
          <p:cNvSpPr>
            <a:spLocks noGrp="1"/>
          </p:cNvSpPr>
          <p:nvPr>
            <p:ph type="body" idx="1"/>
          </p:nvPr>
        </p:nvSpPr>
        <p:spPr>
          <a:xfrm>
            <a:off x="453034" y="1256707"/>
            <a:ext cx="11285931" cy="251841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pPr/>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705" r:id="rId6"/>
    <p:sldLayoutId id="2147483706" r:id="rId7"/>
    <p:sldLayoutId id="2147483707" r:id="rId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custDataLst>
              <p:tags r:id="rId27"/>
            </p:custDataLst>
          </p:nvPr>
        </p:nvPicPr>
        <p:blipFill rotWithShape="1">
          <a:blip r:embed="rId33" cstate="print">
            <a:extLst>
              <a:ext uri="{28A0092B-C50C-407E-A947-70E740481C1C}">
                <a14:useLocalDpi xmlns:a14="http://schemas.microsoft.com/office/drawing/2010/main" xmlns="" val="0"/>
              </a:ext>
            </a:extLst>
          </a:blip>
          <a:srcRect/>
          <a:stretch/>
        </p:blipFill>
        <p:spPr>
          <a:xfrm>
            <a:off x="0" y="740233"/>
            <a:ext cx="12192000" cy="377371"/>
          </a:xfrm>
          <a:prstGeom prst="rect">
            <a:avLst/>
          </a:prstGeom>
        </p:spPr>
      </p:pic>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747964" y="6468150"/>
            <a:ext cx="2592288" cy="230832"/>
          </a:xfrm>
          <a:prstGeom prst="rect">
            <a:avLst/>
          </a:prstGeom>
        </p:spPr>
        <p:txBody>
          <a:bodyPr vert="horz" lIns="72000" tIns="72000" rIns="0" bIns="0" rtlCol="0" anchor="b"/>
          <a:lstStyle/>
          <a:p>
            <a:pPr lvl="0"/>
            <a:r>
              <a:rPr lang="en-US" sz="800" dirty="0">
                <a:solidFill>
                  <a:schemeClr val="accent3"/>
                </a:solidFill>
              </a:rPr>
              <a:t>© Western Cape Government 2013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rcRect/>
          <a:stretch>
            <a:fillRect/>
          </a:stretch>
        </p:blipFill>
        <p:spPr bwMode="auto">
          <a:xfrm>
            <a:off x="365132" y="6149079"/>
            <a:ext cx="1479157"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22232950"/>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700" r:id="rId23"/>
    <p:sldLayoutId id="2147483701" r:id="rId24"/>
    <p:sldLayoutId id="2147483702" r:id="rId25"/>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211803490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13" cstate="print"/>
          <a:stretch>
            <a:fillRect/>
          </a:stretch>
        </p:blipFill>
        <p:spPr>
          <a:xfrm>
            <a:off x="410911" y="6378502"/>
            <a:ext cx="849163" cy="261003"/>
          </a:xfrm>
          <a:prstGeom prst="rect">
            <a:avLst/>
          </a:prstGeom>
        </p:spPr>
      </p:pic>
      <p:pic>
        <p:nvPicPr>
          <p:cNvPr id="17" name="bg object 17"/>
          <p:cNvPicPr/>
          <p:nvPr/>
        </p:nvPicPr>
        <p:blipFill>
          <a:blip r:embed="rId14" cstate="print"/>
          <a:stretch>
            <a:fillRect/>
          </a:stretch>
        </p:blipFill>
        <p:spPr>
          <a:xfrm>
            <a:off x="393191" y="932688"/>
            <a:ext cx="11798807" cy="64008"/>
          </a:xfrm>
          <a:prstGeom prst="rect">
            <a:avLst/>
          </a:prstGeom>
        </p:spPr>
      </p:pic>
      <p:sp>
        <p:nvSpPr>
          <p:cNvPr id="2" name="Holder 2"/>
          <p:cNvSpPr>
            <a:spLocks noGrp="1"/>
          </p:cNvSpPr>
          <p:nvPr>
            <p:ph type="title"/>
          </p:nvPr>
        </p:nvSpPr>
        <p:spPr>
          <a:xfrm>
            <a:off x="453034" y="259207"/>
            <a:ext cx="11285931" cy="391159"/>
          </a:xfrm>
          <a:prstGeom prst="rect">
            <a:avLst/>
          </a:prstGeom>
        </p:spPr>
        <p:txBody>
          <a:bodyPr wrap="square" lIns="0" tIns="0" rIns="0" bIns="0">
            <a:spAutoFit/>
          </a:bodyPr>
          <a:lstStyle>
            <a:lvl1pPr>
              <a:defRPr sz="2400" b="1" i="0">
                <a:solidFill>
                  <a:srgbClr val="232852"/>
                </a:solidFill>
                <a:latin typeface="Arial"/>
                <a:cs typeface="Arial"/>
              </a:defRPr>
            </a:lvl1pPr>
          </a:lstStyle>
          <a:p>
            <a:endParaRPr/>
          </a:p>
        </p:txBody>
      </p:sp>
      <p:sp>
        <p:nvSpPr>
          <p:cNvPr id="3" name="Holder 3"/>
          <p:cNvSpPr>
            <a:spLocks noGrp="1"/>
          </p:cNvSpPr>
          <p:nvPr>
            <p:ph type="body" idx="1"/>
          </p:nvPr>
        </p:nvSpPr>
        <p:spPr>
          <a:xfrm>
            <a:off x="453034" y="1256707"/>
            <a:ext cx="11285931" cy="251841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pPr/>
              <a:t>6/3/2022</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xmlns="" val="309544624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5.xm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5.xml"/><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39.xml"/><Relationship Id="rId1" Type="http://schemas.openxmlformats.org/officeDocument/2006/relationships/tags" Target="../tags/tag105.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35.xml"/><Relationship Id="rId5" Type="http://schemas.openxmlformats.org/officeDocument/2006/relationships/image" Target="../media/image38.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5.xml"/><Relationship Id="rId1" Type="http://schemas.openxmlformats.org/officeDocument/2006/relationships/tags" Target="../tags/tag106.xml"/><Relationship Id="rId4" Type="http://schemas.openxmlformats.org/officeDocument/2006/relationships/image" Target="../media/image39.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3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289823"/>
            <a:ext cx="12192000" cy="2700528"/>
          </a:xfrm>
          <a:prstGeom prst="rect">
            <a:avLst/>
          </a:prstGeom>
        </p:spPr>
      </p:pic>
      <p:sp>
        <p:nvSpPr>
          <p:cNvPr id="3" name="object 3"/>
          <p:cNvSpPr txBox="1"/>
          <p:nvPr/>
        </p:nvSpPr>
        <p:spPr>
          <a:xfrm>
            <a:off x="3810000" y="3270418"/>
            <a:ext cx="7680705" cy="3980577"/>
          </a:xfrm>
          <a:prstGeom prst="rect">
            <a:avLst/>
          </a:prstGeom>
        </p:spPr>
        <p:txBody>
          <a:bodyPr vert="horz" wrap="square" lIns="0" tIns="12700" rIns="0" bIns="0" rtlCol="0">
            <a:spAutoFit/>
          </a:bodyPr>
          <a:lstStyle/>
          <a:p>
            <a:pPr marR="5080" algn="ctr">
              <a:lnSpc>
                <a:spcPct val="100000"/>
              </a:lnSpc>
              <a:spcBef>
                <a:spcPts val="100"/>
              </a:spcBef>
            </a:pPr>
            <a:r>
              <a:rPr lang="en-US" sz="3200" b="1" spc="40" dirty="0">
                <a:solidFill>
                  <a:srgbClr val="FFFFFF"/>
                </a:solidFill>
                <a:latin typeface="Century Gothic" panose="020B0502020202020204" pitchFamily="34" charset="0"/>
                <a:cs typeface="Arial"/>
              </a:rPr>
              <a:t>Report to Standing Committee on Premier</a:t>
            </a:r>
          </a:p>
          <a:p>
            <a:pPr marR="5080" algn="r">
              <a:lnSpc>
                <a:spcPct val="100000"/>
              </a:lnSpc>
              <a:spcBef>
                <a:spcPts val="100"/>
              </a:spcBef>
            </a:pPr>
            <a:endParaRPr lang="en-US" sz="3200" b="1" spc="40" dirty="0">
              <a:solidFill>
                <a:srgbClr val="FFFFFF"/>
              </a:solidFill>
              <a:latin typeface="Century Gothic" panose="020B0502020202020204" pitchFamily="34" charset="0"/>
              <a:cs typeface="Arial"/>
            </a:endParaRPr>
          </a:p>
          <a:p>
            <a:pPr marR="5080" algn="ctr">
              <a:lnSpc>
                <a:spcPct val="100000"/>
              </a:lnSpc>
              <a:spcBef>
                <a:spcPts val="100"/>
              </a:spcBef>
            </a:pPr>
            <a:r>
              <a:rPr lang="en-US" sz="3200" b="1" spc="40" dirty="0">
                <a:solidFill>
                  <a:srgbClr val="FFFFFF"/>
                </a:solidFill>
                <a:latin typeface="Century Gothic" panose="020B0502020202020204" pitchFamily="34" charset="0"/>
                <a:cs typeface="Arial"/>
              </a:rPr>
              <a:t>Broadband Update and Report on Information Security Operations </a:t>
            </a:r>
          </a:p>
          <a:p>
            <a:pPr marR="5080" algn="r">
              <a:lnSpc>
                <a:spcPct val="100000"/>
              </a:lnSpc>
              <a:spcBef>
                <a:spcPts val="100"/>
              </a:spcBef>
            </a:pPr>
            <a:r>
              <a:rPr lang="en-US" sz="3200" b="1" spc="40" dirty="0">
                <a:solidFill>
                  <a:srgbClr val="FFFFFF"/>
                </a:solidFill>
                <a:latin typeface="Century Gothic" panose="020B0502020202020204" pitchFamily="34" charset="0"/>
                <a:cs typeface="Arial"/>
              </a:rPr>
              <a:t>  </a:t>
            </a:r>
          </a:p>
          <a:p>
            <a:pPr marR="5080" algn="r">
              <a:lnSpc>
                <a:spcPct val="100000"/>
              </a:lnSpc>
              <a:spcBef>
                <a:spcPts val="100"/>
              </a:spcBef>
            </a:pPr>
            <a:endParaRPr lang="en-US" sz="2400" b="1" spc="40" dirty="0">
              <a:solidFill>
                <a:srgbClr val="FFFFFF"/>
              </a:solidFill>
              <a:latin typeface="Century Gothic" panose="020B0502020202020204" pitchFamily="34" charset="0"/>
              <a:cs typeface="Arial"/>
            </a:endParaRPr>
          </a:p>
          <a:p>
            <a:pPr>
              <a:lnSpc>
                <a:spcPct val="100000"/>
              </a:lnSpc>
              <a:spcBef>
                <a:spcPts val="5"/>
              </a:spcBef>
            </a:pPr>
            <a:endParaRPr sz="3850" dirty="0">
              <a:latin typeface="Century Gothic" panose="020B0502020202020204" pitchFamily="34" charset="0"/>
              <a:cs typeface="Arial"/>
            </a:endParaRPr>
          </a:p>
        </p:txBody>
      </p:sp>
      <p:sp>
        <p:nvSpPr>
          <p:cNvPr id="4" name="object 4"/>
          <p:cNvSpPr txBox="1"/>
          <p:nvPr/>
        </p:nvSpPr>
        <p:spPr>
          <a:xfrm>
            <a:off x="9220200" y="5818733"/>
            <a:ext cx="2271776" cy="289823"/>
          </a:xfrm>
          <a:prstGeom prst="rect">
            <a:avLst/>
          </a:prstGeom>
        </p:spPr>
        <p:txBody>
          <a:bodyPr vert="horz" wrap="square" lIns="0" tIns="12700" rIns="0" bIns="0" rtlCol="0">
            <a:spAutoFit/>
          </a:bodyPr>
          <a:lstStyle/>
          <a:p>
            <a:pPr marL="12700" algn="r">
              <a:lnSpc>
                <a:spcPct val="100000"/>
              </a:lnSpc>
              <a:spcBef>
                <a:spcPts val="100"/>
              </a:spcBef>
            </a:pPr>
            <a:r>
              <a:rPr lang="en-US" spc="-10" dirty="0">
                <a:solidFill>
                  <a:srgbClr val="FFFFFF"/>
                </a:solidFill>
                <a:latin typeface="Arial"/>
                <a:cs typeface="Arial"/>
              </a:rPr>
              <a:t>3 June </a:t>
            </a:r>
            <a:r>
              <a:rPr sz="1800" spc="-10" dirty="0">
                <a:solidFill>
                  <a:srgbClr val="FFFFFF"/>
                </a:solidFill>
                <a:latin typeface="Arial"/>
                <a:cs typeface="Arial"/>
              </a:rPr>
              <a:t>202</a:t>
            </a:r>
            <a:r>
              <a:rPr lang="en-US" sz="1800" spc="-10" dirty="0">
                <a:solidFill>
                  <a:srgbClr val="FFFFFF"/>
                </a:solidFill>
                <a:latin typeface="Arial"/>
                <a:cs typeface="Arial"/>
              </a:rPr>
              <a:t>2</a:t>
            </a:r>
            <a:endParaRPr sz="1800" dirty="0">
              <a:latin typeface="Arial"/>
              <a:cs typeface="Arial"/>
            </a:endParaRPr>
          </a:p>
        </p:txBody>
      </p:sp>
      <p:sp>
        <p:nvSpPr>
          <p:cNvPr id="5" name="object 5"/>
          <p:cNvSpPr txBox="1"/>
          <p:nvPr/>
        </p:nvSpPr>
        <p:spPr>
          <a:xfrm>
            <a:off x="8229600" y="2704591"/>
            <a:ext cx="3261105" cy="289823"/>
          </a:xfrm>
          <a:prstGeom prst="rect">
            <a:avLst/>
          </a:prstGeom>
        </p:spPr>
        <p:txBody>
          <a:bodyPr vert="horz" wrap="square" lIns="0" tIns="12700" rIns="0" bIns="0" rtlCol="0">
            <a:spAutoFit/>
          </a:bodyPr>
          <a:lstStyle/>
          <a:p>
            <a:pPr marL="12700">
              <a:lnSpc>
                <a:spcPct val="100000"/>
              </a:lnSpc>
              <a:spcBef>
                <a:spcPts val="100"/>
              </a:spcBef>
            </a:pPr>
            <a:r>
              <a:rPr sz="1800" spc="120" dirty="0">
                <a:solidFill>
                  <a:srgbClr val="FFFFFF"/>
                </a:solidFill>
                <a:latin typeface="Century Gothic" panose="020B0502020202020204" pitchFamily="34" charset="0"/>
                <a:cs typeface="Arial"/>
              </a:rPr>
              <a:t>Department</a:t>
            </a:r>
            <a:r>
              <a:rPr sz="1800" spc="5" dirty="0">
                <a:solidFill>
                  <a:srgbClr val="FFFFFF"/>
                </a:solidFill>
                <a:latin typeface="Century Gothic" panose="020B0502020202020204" pitchFamily="34" charset="0"/>
                <a:cs typeface="Arial"/>
              </a:rPr>
              <a:t> </a:t>
            </a:r>
            <a:r>
              <a:rPr sz="1800" spc="120" dirty="0">
                <a:solidFill>
                  <a:srgbClr val="FFFFFF"/>
                </a:solidFill>
                <a:latin typeface="Century Gothic" panose="020B0502020202020204" pitchFamily="34" charset="0"/>
                <a:cs typeface="Arial"/>
              </a:rPr>
              <a:t>of</a:t>
            </a:r>
            <a:r>
              <a:rPr sz="1800" spc="-25" dirty="0">
                <a:solidFill>
                  <a:srgbClr val="FFFFFF"/>
                </a:solidFill>
                <a:latin typeface="Century Gothic" panose="020B0502020202020204" pitchFamily="34" charset="0"/>
                <a:cs typeface="Arial"/>
              </a:rPr>
              <a:t> </a:t>
            </a:r>
            <a:r>
              <a:rPr sz="1800" spc="114" dirty="0">
                <a:solidFill>
                  <a:srgbClr val="FFFFFF"/>
                </a:solidFill>
                <a:latin typeface="Century Gothic" panose="020B0502020202020204" pitchFamily="34" charset="0"/>
                <a:cs typeface="Arial"/>
              </a:rPr>
              <a:t>the</a:t>
            </a:r>
            <a:r>
              <a:rPr sz="1800" dirty="0">
                <a:solidFill>
                  <a:srgbClr val="FFFFFF"/>
                </a:solidFill>
                <a:latin typeface="Century Gothic" panose="020B0502020202020204" pitchFamily="34" charset="0"/>
                <a:cs typeface="Arial"/>
              </a:rPr>
              <a:t> </a:t>
            </a:r>
            <a:r>
              <a:rPr sz="1800" spc="35" dirty="0">
                <a:solidFill>
                  <a:srgbClr val="FFFFFF"/>
                </a:solidFill>
                <a:latin typeface="Century Gothic" panose="020B0502020202020204" pitchFamily="34" charset="0"/>
                <a:cs typeface="Arial"/>
              </a:rPr>
              <a:t>Premier</a:t>
            </a:r>
            <a:endParaRPr sz="1800" dirty="0">
              <a:latin typeface="Century Gothic" panose="020B0502020202020204" pitchFamily="34" charset="0"/>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xmlns="" id="{A529794E-FB73-47DD-9185-3529504D334C}"/>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b="9851"/>
          <a:stretch/>
        </p:blipFill>
        <p:spPr>
          <a:xfrm>
            <a:off x="10710076" y="6051679"/>
            <a:ext cx="1097523" cy="588634"/>
          </a:xfrm>
          <a:prstGeom prst="rect">
            <a:avLst/>
          </a:prstGeom>
        </p:spPr>
      </p:pic>
      <p:sp>
        <p:nvSpPr>
          <p:cNvPr id="5" name="Title 4"/>
          <p:cNvSpPr>
            <a:spLocks noGrp="1"/>
          </p:cNvSpPr>
          <p:nvPr>
            <p:ph type="ctrTitle"/>
          </p:nvPr>
        </p:nvSpPr>
        <p:spPr>
          <a:xfrm>
            <a:off x="862383" y="2975995"/>
            <a:ext cx="10945216" cy="1356650"/>
          </a:xfrm>
        </p:spPr>
        <p:txBody>
          <a:bodyPr>
            <a:normAutofit/>
          </a:bodyPr>
          <a:lstStyle/>
          <a:p>
            <a:pPr algn="ctr"/>
            <a:r>
              <a:rPr lang="en-US" sz="4000" dirty="0"/>
              <a:t/>
            </a:r>
            <a:br>
              <a:rPr lang="en-US" sz="4000" dirty="0"/>
            </a:br>
            <a:r>
              <a:rPr lang="en-US" sz="4000" dirty="0"/>
              <a:t>information security operations </a:t>
            </a:r>
            <a:endParaRPr lang="en-US" sz="4000" i="1" dirty="0"/>
          </a:p>
        </p:txBody>
      </p:sp>
    </p:spTree>
    <p:extLst>
      <p:ext uri="{BB962C8B-B14F-4D97-AF65-F5344CB8AC3E}">
        <p14:creationId xmlns:p14="http://schemas.microsoft.com/office/powerpoint/2010/main" xmlns="" val="27481611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AEB4B3-77EC-4496-A3FA-9B114F10C1C8}"/>
              </a:ext>
            </a:extLst>
          </p:cNvPr>
          <p:cNvSpPr>
            <a:spLocks noGrp="1"/>
          </p:cNvSpPr>
          <p:nvPr>
            <p:ph type="title"/>
          </p:nvPr>
        </p:nvSpPr>
        <p:spPr/>
        <p:txBody>
          <a:bodyPr/>
          <a:lstStyle/>
          <a:p>
            <a:r>
              <a:rPr lang="en-US" dirty="0"/>
              <a:t>Major threats to Business Continuity and Service Delivery to our Citizens</a:t>
            </a:r>
          </a:p>
        </p:txBody>
      </p:sp>
      <p:sp>
        <p:nvSpPr>
          <p:cNvPr id="3" name="Slide Number Placeholder 2">
            <a:extLst>
              <a:ext uri="{FF2B5EF4-FFF2-40B4-BE49-F238E27FC236}">
                <a16:creationId xmlns:a16="http://schemas.microsoft.com/office/drawing/2014/main" xmlns="" id="{F776D57B-1694-4412-9898-A7651988B22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pic>
        <p:nvPicPr>
          <p:cNvPr id="9" name="Picture 8">
            <a:extLst>
              <a:ext uri="{FF2B5EF4-FFF2-40B4-BE49-F238E27FC236}">
                <a16:creationId xmlns:a16="http://schemas.microsoft.com/office/drawing/2014/main" xmlns="" id="{432CAFC7-3045-4C0D-BD6B-FC0D451E0A02}"/>
              </a:ext>
            </a:extLst>
          </p:cNvPr>
          <p:cNvPicPr>
            <a:picLocks noChangeAspect="1"/>
          </p:cNvPicPr>
          <p:nvPr/>
        </p:nvPicPr>
        <p:blipFill>
          <a:blip r:embed="rId2" cstate="print"/>
          <a:stretch>
            <a:fillRect/>
          </a:stretch>
        </p:blipFill>
        <p:spPr>
          <a:xfrm>
            <a:off x="5437819" y="1178835"/>
            <a:ext cx="5732954" cy="2304256"/>
          </a:xfrm>
          <a:prstGeom prst="round2DiagRect">
            <a:avLst>
              <a:gd name="adj1" fmla="val 16667"/>
              <a:gd name="adj2" fmla="val 0"/>
            </a:avLst>
          </a:prstGeom>
          <a:ln w="19050" cap="sq">
            <a:solidFill>
              <a:schemeClr val="accent1">
                <a:lumMod val="60000"/>
                <a:lumOff val="40000"/>
              </a:schemeClr>
            </a:solidFill>
            <a:miter lim="800000"/>
          </a:ln>
          <a:effectLst/>
        </p:spPr>
      </p:pic>
      <p:pic>
        <p:nvPicPr>
          <p:cNvPr id="11" name="Picture 10">
            <a:extLst>
              <a:ext uri="{FF2B5EF4-FFF2-40B4-BE49-F238E27FC236}">
                <a16:creationId xmlns:a16="http://schemas.microsoft.com/office/drawing/2014/main" xmlns="" id="{3FA4AF5E-0D63-471E-9DCE-7CF3F337F0AB}"/>
              </a:ext>
            </a:extLst>
          </p:cNvPr>
          <p:cNvPicPr>
            <a:picLocks noChangeAspect="1"/>
          </p:cNvPicPr>
          <p:nvPr/>
        </p:nvPicPr>
        <p:blipFill>
          <a:blip r:embed="rId3" cstate="print"/>
          <a:stretch>
            <a:fillRect/>
          </a:stretch>
        </p:blipFill>
        <p:spPr>
          <a:xfrm>
            <a:off x="517890" y="3725290"/>
            <a:ext cx="4600738" cy="2748510"/>
          </a:xfrm>
          <a:prstGeom prst="round2DiagRect">
            <a:avLst>
              <a:gd name="adj1" fmla="val 16667"/>
              <a:gd name="adj2" fmla="val 0"/>
            </a:avLst>
          </a:prstGeom>
          <a:ln w="28575" cap="sq">
            <a:solidFill>
              <a:schemeClr val="accent1">
                <a:lumMod val="60000"/>
                <a:lumOff val="40000"/>
              </a:schemeClr>
            </a:solidFill>
            <a:miter lim="800000"/>
          </a:ln>
          <a:effectLst/>
        </p:spPr>
      </p:pic>
      <p:pic>
        <p:nvPicPr>
          <p:cNvPr id="13" name="Picture 12">
            <a:extLst>
              <a:ext uri="{FF2B5EF4-FFF2-40B4-BE49-F238E27FC236}">
                <a16:creationId xmlns:a16="http://schemas.microsoft.com/office/drawing/2014/main" xmlns="" id="{0D01E8FB-7E1A-4FDC-BE0D-1EF375DE241D}"/>
              </a:ext>
            </a:extLst>
          </p:cNvPr>
          <p:cNvPicPr>
            <a:picLocks noChangeAspect="1"/>
          </p:cNvPicPr>
          <p:nvPr/>
        </p:nvPicPr>
        <p:blipFill>
          <a:blip r:embed="rId4" cstate="print"/>
          <a:stretch>
            <a:fillRect/>
          </a:stretch>
        </p:blipFill>
        <p:spPr>
          <a:xfrm>
            <a:off x="554127" y="1140993"/>
            <a:ext cx="4600738" cy="2440165"/>
          </a:xfrm>
          <a:prstGeom prst="round2DiagRect">
            <a:avLst>
              <a:gd name="adj1" fmla="val 16667"/>
              <a:gd name="adj2" fmla="val 0"/>
            </a:avLst>
          </a:prstGeom>
          <a:ln w="28575" cap="sq">
            <a:solidFill>
              <a:schemeClr val="accent1">
                <a:lumMod val="60000"/>
                <a:lumOff val="40000"/>
              </a:schemeClr>
            </a:solidFill>
            <a:miter lim="800000"/>
          </a:ln>
          <a:effectLst/>
        </p:spPr>
      </p:pic>
      <p:pic>
        <p:nvPicPr>
          <p:cNvPr id="17" name="Picture 16">
            <a:extLst>
              <a:ext uri="{FF2B5EF4-FFF2-40B4-BE49-F238E27FC236}">
                <a16:creationId xmlns:a16="http://schemas.microsoft.com/office/drawing/2014/main" xmlns="" id="{B51DF884-49E6-4429-A1BA-59EAD02F957D}"/>
              </a:ext>
            </a:extLst>
          </p:cNvPr>
          <p:cNvPicPr>
            <a:picLocks noChangeAspect="1"/>
          </p:cNvPicPr>
          <p:nvPr/>
        </p:nvPicPr>
        <p:blipFill>
          <a:blip r:embed="rId5" cstate="print"/>
          <a:stretch>
            <a:fillRect/>
          </a:stretch>
        </p:blipFill>
        <p:spPr>
          <a:xfrm>
            <a:off x="5437819" y="3719640"/>
            <a:ext cx="5732954" cy="2748510"/>
          </a:xfrm>
          <a:prstGeom prst="round2DiagRect">
            <a:avLst>
              <a:gd name="adj1" fmla="val 16667"/>
              <a:gd name="adj2" fmla="val 0"/>
            </a:avLst>
          </a:prstGeom>
          <a:ln w="28575" cap="sq">
            <a:solidFill>
              <a:schemeClr val="accent1">
                <a:lumMod val="60000"/>
                <a:lumOff val="40000"/>
              </a:schemeClr>
            </a:solidFill>
            <a:miter lim="800000"/>
          </a:ln>
          <a:effectLst/>
        </p:spPr>
      </p:pic>
      <p:sp>
        <p:nvSpPr>
          <p:cNvPr id="18" name="Oval 17">
            <a:extLst>
              <a:ext uri="{FF2B5EF4-FFF2-40B4-BE49-F238E27FC236}">
                <a16:creationId xmlns:a16="http://schemas.microsoft.com/office/drawing/2014/main" xmlns="" id="{D84DC3FE-3ABD-420E-88A2-C0E0F288945C}"/>
              </a:ext>
            </a:extLst>
          </p:cNvPr>
          <p:cNvSpPr/>
          <p:nvPr/>
        </p:nvSpPr>
        <p:spPr>
          <a:xfrm>
            <a:off x="1592403" y="2361076"/>
            <a:ext cx="2664296" cy="50405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a:ea typeface="+mn-ea"/>
                <a:cs typeface="+mn-cs"/>
              </a:rPr>
              <a:t>Network Failure</a:t>
            </a:r>
          </a:p>
        </p:txBody>
      </p:sp>
      <p:sp>
        <p:nvSpPr>
          <p:cNvPr id="19" name="Oval 18">
            <a:extLst>
              <a:ext uri="{FF2B5EF4-FFF2-40B4-BE49-F238E27FC236}">
                <a16:creationId xmlns:a16="http://schemas.microsoft.com/office/drawing/2014/main" xmlns="" id="{F376DC4F-10C2-4A6B-A0D5-01CCEC5361A6}"/>
              </a:ext>
            </a:extLst>
          </p:cNvPr>
          <p:cNvSpPr/>
          <p:nvPr/>
        </p:nvSpPr>
        <p:spPr>
          <a:xfrm>
            <a:off x="7032104" y="5056495"/>
            <a:ext cx="2664296" cy="50405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a:ea typeface="+mn-ea"/>
                <a:cs typeface="+mn-cs"/>
              </a:rPr>
              <a:t>Cyber Attacks</a:t>
            </a:r>
          </a:p>
        </p:txBody>
      </p:sp>
      <p:sp>
        <p:nvSpPr>
          <p:cNvPr id="20" name="Oval 19">
            <a:extLst>
              <a:ext uri="{FF2B5EF4-FFF2-40B4-BE49-F238E27FC236}">
                <a16:creationId xmlns:a16="http://schemas.microsoft.com/office/drawing/2014/main" xmlns="" id="{E339C0BE-0FE7-4817-9A70-A92F7FDE9521}"/>
              </a:ext>
            </a:extLst>
          </p:cNvPr>
          <p:cNvSpPr/>
          <p:nvPr/>
        </p:nvSpPr>
        <p:spPr>
          <a:xfrm>
            <a:off x="1596942" y="5056495"/>
            <a:ext cx="2664296" cy="50405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a:ea typeface="+mn-ea"/>
                <a:cs typeface="+mn-cs"/>
              </a:rPr>
              <a:t>Power Outages</a:t>
            </a:r>
          </a:p>
        </p:txBody>
      </p:sp>
      <p:sp>
        <p:nvSpPr>
          <p:cNvPr id="21" name="Oval 20">
            <a:extLst>
              <a:ext uri="{FF2B5EF4-FFF2-40B4-BE49-F238E27FC236}">
                <a16:creationId xmlns:a16="http://schemas.microsoft.com/office/drawing/2014/main" xmlns="" id="{51E0D736-FC12-4EF4-88C6-2144C4B49A26}"/>
              </a:ext>
            </a:extLst>
          </p:cNvPr>
          <p:cNvSpPr/>
          <p:nvPr/>
        </p:nvSpPr>
        <p:spPr>
          <a:xfrm>
            <a:off x="7032104" y="2321260"/>
            <a:ext cx="2664296" cy="504056"/>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entury Gothic"/>
                <a:ea typeface="+mn-ea"/>
                <a:cs typeface="+mn-cs"/>
              </a:rPr>
              <a:t>Ageing infrastructure</a:t>
            </a:r>
          </a:p>
        </p:txBody>
      </p:sp>
    </p:spTree>
    <p:extLst>
      <p:ext uri="{BB962C8B-B14F-4D97-AF65-F5344CB8AC3E}">
        <p14:creationId xmlns:p14="http://schemas.microsoft.com/office/powerpoint/2010/main" xmlns="" val="3004537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additive="base">
                                        <p:cTn id="7" dur="500" fill="hold"/>
                                        <p:tgtEl>
                                          <p:spTgt spid="18"/>
                                        </p:tgtEl>
                                        <p:attrNameLst>
                                          <p:attrName>ppt_x</p:attrName>
                                        </p:attrNameLst>
                                      </p:cBhvr>
                                      <p:tavLst>
                                        <p:tav tm="0">
                                          <p:val>
                                            <p:strVal val="#ppt_x"/>
                                          </p:val>
                                        </p:tav>
                                        <p:tav tm="100000">
                                          <p:val>
                                            <p:strVal val="#ppt_x"/>
                                          </p:val>
                                        </p:tav>
                                      </p:tavLst>
                                    </p:anim>
                                    <p:anim calcmode="lin" valueType="num">
                                      <p:cBhvr additive="base">
                                        <p:cTn id="8"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additive="base">
                                        <p:cTn id="13" dur="500" fill="hold"/>
                                        <p:tgtEl>
                                          <p:spTgt spid="21"/>
                                        </p:tgtEl>
                                        <p:attrNameLst>
                                          <p:attrName>ppt_x</p:attrName>
                                        </p:attrNameLst>
                                      </p:cBhvr>
                                      <p:tavLst>
                                        <p:tav tm="0">
                                          <p:val>
                                            <p:strVal val="#ppt_x"/>
                                          </p:val>
                                        </p:tav>
                                        <p:tav tm="100000">
                                          <p:val>
                                            <p:strVal val="#ppt_x"/>
                                          </p:val>
                                        </p:tav>
                                      </p:tavLst>
                                    </p:anim>
                                    <p:anim calcmode="lin" valueType="num">
                                      <p:cBhvr additive="base">
                                        <p:cTn id="14" dur="500" fill="hold"/>
                                        <p:tgtEl>
                                          <p:spTgt spid="2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ppt_x"/>
                                          </p:val>
                                        </p:tav>
                                        <p:tav tm="100000">
                                          <p:val>
                                            <p:strVal val="#ppt_x"/>
                                          </p:val>
                                        </p:tav>
                                      </p:tavLst>
                                    </p:anim>
                                    <p:anim calcmode="lin" valueType="num">
                                      <p:cBhvr additive="base">
                                        <p:cTn id="20"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13F76D6F-DF74-4A53-9689-BE907E31EFF1}"/>
              </a:ext>
            </a:extLst>
          </p:cNvPr>
          <p:cNvPicPr>
            <a:picLocks noChangeAspect="1"/>
          </p:cNvPicPr>
          <p:nvPr/>
        </p:nvPicPr>
        <p:blipFill>
          <a:blip r:embed="rId2" cstate="print"/>
          <a:stretch>
            <a:fillRect/>
          </a:stretch>
        </p:blipFill>
        <p:spPr>
          <a:xfrm>
            <a:off x="8177963" y="1673076"/>
            <a:ext cx="2270010" cy="1433740"/>
          </a:xfrm>
          <a:prstGeom prst="round2DiagRect">
            <a:avLst>
              <a:gd name="adj1" fmla="val 16667"/>
              <a:gd name="adj2" fmla="val 0"/>
            </a:avLst>
          </a:prstGeom>
          <a:ln w="28575" cap="sq">
            <a:solidFill>
              <a:schemeClr val="accent1">
                <a:lumMod val="60000"/>
                <a:lumOff val="40000"/>
              </a:schemeClr>
            </a:solidFill>
            <a:miter lim="800000"/>
          </a:ln>
          <a:effectLst/>
        </p:spPr>
      </p:pic>
      <p:sp>
        <p:nvSpPr>
          <p:cNvPr id="2" name="Title 1">
            <a:extLst>
              <a:ext uri="{FF2B5EF4-FFF2-40B4-BE49-F238E27FC236}">
                <a16:creationId xmlns:a16="http://schemas.microsoft.com/office/drawing/2014/main" xmlns="" id="{3A6C0963-FDB0-4787-B3A7-A81E571341F9}"/>
              </a:ext>
            </a:extLst>
          </p:cNvPr>
          <p:cNvSpPr>
            <a:spLocks noGrp="1"/>
          </p:cNvSpPr>
          <p:nvPr>
            <p:ph type="title"/>
          </p:nvPr>
        </p:nvSpPr>
        <p:spPr/>
        <p:txBody>
          <a:bodyPr/>
          <a:lstStyle/>
          <a:p>
            <a:r>
              <a:rPr lang="en-US" dirty="0"/>
              <a:t>Recent South African Cyber Attacks</a:t>
            </a:r>
          </a:p>
        </p:txBody>
      </p:sp>
      <p:sp>
        <p:nvSpPr>
          <p:cNvPr id="3" name="Slide Number Placeholder 2">
            <a:extLst>
              <a:ext uri="{FF2B5EF4-FFF2-40B4-BE49-F238E27FC236}">
                <a16:creationId xmlns:a16="http://schemas.microsoft.com/office/drawing/2014/main" xmlns="" id="{57E94852-1386-4321-8C32-C3BB70DBBD2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pic>
        <p:nvPicPr>
          <p:cNvPr id="9" name="Picture 8">
            <a:extLst>
              <a:ext uri="{FF2B5EF4-FFF2-40B4-BE49-F238E27FC236}">
                <a16:creationId xmlns:a16="http://schemas.microsoft.com/office/drawing/2014/main" xmlns="" id="{D42FCB5B-EDFB-4622-ADAB-FD39B8FF83DF}"/>
              </a:ext>
            </a:extLst>
          </p:cNvPr>
          <p:cNvPicPr>
            <a:picLocks noChangeAspect="1"/>
          </p:cNvPicPr>
          <p:nvPr/>
        </p:nvPicPr>
        <p:blipFill>
          <a:blip r:embed="rId3" cstate="print"/>
          <a:stretch>
            <a:fillRect/>
          </a:stretch>
        </p:blipFill>
        <p:spPr>
          <a:xfrm>
            <a:off x="136060" y="1673076"/>
            <a:ext cx="6391988" cy="1669576"/>
          </a:xfrm>
          <a:prstGeom prst="rect">
            <a:avLst/>
          </a:prstGeom>
        </p:spPr>
      </p:pic>
      <p:pic>
        <p:nvPicPr>
          <p:cNvPr id="11" name="Picture 10">
            <a:extLst>
              <a:ext uri="{FF2B5EF4-FFF2-40B4-BE49-F238E27FC236}">
                <a16:creationId xmlns:a16="http://schemas.microsoft.com/office/drawing/2014/main" xmlns="" id="{DFCF74E8-F714-4D3B-B2DC-233B3DD98A34}"/>
              </a:ext>
            </a:extLst>
          </p:cNvPr>
          <p:cNvPicPr>
            <a:picLocks noChangeAspect="1"/>
          </p:cNvPicPr>
          <p:nvPr/>
        </p:nvPicPr>
        <p:blipFill>
          <a:blip r:embed="rId4" cstate="print"/>
          <a:stretch>
            <a:fillRect/>
          </a:stretch>
        </p:blipFill>
        <p:spPr>
          <a:xfrm>
            <a:off x="263352" y="4234459"/>
            <a:ext cx="6264696" cy="1829822"/>
          </a:xfrm>
          <a:prstGeom prst="rect">
            <a:avLst/>
          </a:prstGeom>
        </p:spPr>
      </p:pic>
      <p:pic>
        <p:nvPicPr>
          <p:cNvPr id="13" name="Picture 12">
            <a:extLst>
              <a:ext uri="{FF2B5EF4-FFF2-40B4-BE49-F238E27FC236}">
                <a16:creationId xmlns:a16="http://schemas.microsoft.com/office/drawing/2014/main" xmlns="" id="{8526890C-D991-490B-9AC1-6AD52BF4B08D}"/>
              </a:ext>
            </a:extLst>
          </p:cNvPr>
          <p:cNvPicPr>
            <a:picLocks noChangeAspect="1"/>
          </p:cNvPicPr>
          <p:nvPr/>
        </p:nvPicPr>
        <p:blipFill>
          <a:blip r:embed="rId5" cstate="print"/>
          <a:stretch>
            <a:fillRect/>
          </a:stretch>
        </p:blipFill>
        <p:spPr>
          <a:xfrm>
            <a:off x="6769297" y="4234459"/>
            <a:ext cx="5087343" cy="1923915"/>
          </a:xfrm>
          <a:prstGeom prst="rect">
            <a:avLst/>
          </a:prstGeom>
        </p:spPr>
      </p:pic>
    </p:spTree>
    <p:extLst>
      <p:ext uri="{BB962C8B-B14F-4D97-AF65-F5344CB8AC3E}">
        <p14:creationId xmlns:p14="http://schemas.microsoft.com/office/powerpoint/2010/main" xmlns="" val="7320701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6BFC2B14-A8AA-4589-B35D-2035DBD04371}"/>
              </a:ext>
            </a:extLst>
          </p:cNvPr>
          <p:cNvPicPr>
            <a:picLocks noChangeAspect="1"/>
          </p:cNvPicPr>
          <p:nvPr/>
        </p:nvPicPr>
        <p:blipFill>
          <a:blip r:embed="rId3" cstate="print"/>
          <a:stretch>
            <a:fillRect/>
          </a:stretch>
        </p:blipFill>
        <p:spPr>
          <a:xfrm>
            <a:off x="4004066" y="1839260"/>
            <a:ext cx="3674782" cy="3529861"/>
          </a:xfrm>
          <a:prstGeom prst="rect">
            <a:avLst/>
          </a:prstGeom>
        </p:spPr>
      </p:pic>
      <p:sp>
        <p:nvSpPr>
          <p:cNvPr id="6" name="Title 5"/>
          <p:cNvSpPr>
            <a:spLocks noGrp="1"/>
          </p:cNvSpPr>
          <p:nvPr>
            <p:ph type="title"/>
          </p:nvPr>
        </p:nvSpPr>
        <p:spPr/>
        <p:txBody>
          <a:bodyPr/>
          <a:lstStyle/>
          <a:p>
            <a:r>
              <a:rPr lang="en-GB" dirty="0"/>
              <a:t>Information Threats and Risks Domain</a:t>
            </a:r>
          </a:p>
        </p:txBody>
      </p:sp>
      <p:sp>
        <p:nvSpPr>
          <p:cNvPr id="9" name="Text Placeholder 8"/>
          <p:cNvSpPr>
            <a:spLocks noGrp="1"/>
          </p:cNvSpPr>
          <p:nvPr>
            <p:ph type="body" sz="quarter" idx="14"/>
          </p:nvPr>
        </p:nvSpPr>
        <p:spPr>
          <a:xfrm>
            <a:off x="217358" y="1102952"/>
            <a:ext cx="3874957" cy="5596030"/>
          </a:xfrm>
          <a:solidFill>
            <a:schemeClr val="bg1">
              <a:lumMod val="95000"/>
            </a:schemeClr>
          </a:solidFill>
        </p:spPr>
        <p:txBody>
          <a:bodyPr>
            <a:normAutofit lnSpcReduction="10000"/>
          </a:bodyPr>
          <a:lstStyle/>
          <a:p>
            <a:pPr algn="ctr"/>
            <a:r>
              <a:rPr lang="en-GB" dirty="0"/>
              <a:t>TECHNOLOGY</a:t>
            </a:r>
          </a:p>
          <a:p>
            <a:endParaRPr lang="en-GB" dirty="0"/>
          </a:p>
          <a:p>
            <a:pPr lvl="1"/>
            <a:r>
              <a:rPr lang="en-GB" b="1" dirty="0">
                <a:solidFill>
                  <a:schemeClr val="tx2"/>
                </a:solidFill>
              </a:rPr>
              <a:t>Physical Devices (PD’s) e.g. Memory Sticks</a:t>
            </a:r>
          </a:p>
          <a:p>
            <a:pPr lvl="1"/>
            <a:r>
              <a:rPr lang="en-GB" dirty="0">
                <a:solidFill>
                  <a:schemeClr val="bg2">
                    <a:lumMod val="50000"/>
                  </a:schemeClr>
                </a:solidFill>
              </a:rPr>
              <a:t>Operating System (OS)</a:t>
            </a:r>
          </a:p>
          <a:p>
            <a:pPr lvl="1"/>
            <a:r>
              <a:rPr lang="en-GB" dirty="0">
                <a:solidFill>
                  <a:schemeClr val="bg2">
                    <a:lumMod val="50000"/>
                  </a:schemeClr>
                </a:solidFill>
              </a:rPr>
              <a:t>Application Software</a:t>
            </a:r>
          </a:p>
          <a:p>
            <a:pPr lvl="1"/>
            <a:r>
              <a:rPr lang="en-GB" dirty="0">
                <a:solidFill>
                  <a:schemeClr val="bg2">
                    <a:lumMod val="50000"/>
                  </a:schemeClr>
                </a:solidFill>
              </a:rPr>
              <a:t>Poor Systems design and Architecture</a:t>
            </a:r>
          </a:p>
          <a:p>
            <a:pPr lvl="1"/>
            <a:r>
              <a:rPr lang="en-GB" dirty="0">
                <a:solidFill>
                  <a:schemeClr val="bg2">
                    <a:lumMod val="50000"/>
                  </a:schemeClr>
                </a:solidFill>
              </a:rPr>
              <a:t>Database platforms</a:t>
            </a:r>
          </a:p>
          <a:p>
            <a:pPr lvl="1"/>
            <a:r>
              <a:rPr lang="en-GB" dirty="0">
                <a:solidFill>
                  <a:schemeClr val="bg2">
                    <a:lumMod val="50000"/>
                  </a:schemeClr>
                </a:solidFill>
              </a:rPr>
              <a:t>Programming Languages</a:t>
            </a:r>
          </a:p>
          <a:p>
            <a:pPr lvl="1"/>
            <a:r>
              <a:rPr lang="en-GB" dirty="0">
                <a:solidFill>
                  <a:schemeClr val="bg2">
                    <a:lumMod val="50000"/>
                  </a:schemeClr>
                </a:solidFill>
              </a:rPr>
              <a:t>Poor Data structures and protection</a:t>
            </a:r>
          </a:p>
          <a:p>
            <a:pPr lvl="1"/>
            <a:r>
              <a:rPr lang="en-GB" dirty="0">
                <a:solidFill>
                  <a:schemeClr val="bg2">
                    <a:lumMod val="50000"/>
                  </a:schemeClr>
                </a:solidFill>
              </a:rPr>
              <a:t>IT Tools</a:t>
            </a:r>
          </a:p>
          <a:p>
            <a:pPr lvl="1"/>
            <a:r>
              <a:rPr lang="en-GB" b="1" dirty="0">
                <a:solidFill>
                  <a:schemeClr val="tx2"/>
                </a:solidFill>
              </a:rPr>
              <a:t>Internet Browsers</a:t>
            </a:r>
          </a:p>
          <a:p>
            <a:pPr lvl="1"/>
            <a:r>
              <a:rPr lang="en-GB" b="1" dirty="0">
                <a:solidFill>
                  <a:schemeClr val="tx2"/>
                </a:solidFill>
              </a:rPr>
              <a:t>The Internet and Social Media</a:t>
            </a:r>
          </a:p>
          <a:p>
            <a:pPr lvl="1"/>
            <a:r>
              <a:rPr lang="en-GB" dirty="0">
                <a:solidFill>
                  <a:schemeClr val="bg2">
                    <a:lumMod val="50000"/>
                  </a:schemeClr>
                </a:solidFill>
              </a:rPr>
              <a:t>The Network</a:t>
            </a:r>
          </a:p>
          <a:p>
            <a:pPr lvl="1"/>
            <a:r>
              <a:rPr lang="en-GB" b="1" dirty="0">
                <a:solidFill>
                  <a:schemeClr val="tx2"/>
                </a:solidFill>
              </a:rPr>
              <a:t>Access and Password protection</a:t>
            </a:r>
          </a:p>
          <a:p>
            <a:pPr lvl="1"/>
            <a:r>
              <a:rPr lang="en-GB" dirty="0">
                <a:solidFill>
                  <a:schemeClr val="bg2">
                    <a:lumMod val="50000"/>
                  </a:schemeClr>
                </a:solidFill>
              </a:rPr>
              <a:t>Facilities housing IT equipment</a:t>
            </a:r>
          </a:p>
          <a:p>
            <a:pPr lvl="1"/>
            <a:r>
              <a:rPr lang="en-GB" dirty="0">
                <a:solidFill>
                  <a:schemeClr val="bg2">
                    <a:lumMod val="50000"/>
                  </a:schemeClr>
                </a:solidFill>
              </a:rPr>
              <a:t>Data storage media</a:t>
            </a:r>
          </a:p>
          <a:p>
            <a:pPr lvl="1"/>
            <a:r>
              <a:rPr lang="en-GB" dirty="0">
                <a:solidFill>
                  <a:schemeClr val="bg2">
                    <a:lumMod val="50000"/>
                  </a:schemeClr>
                </a:solidFill>
              </a:rPr>
              <a:t>Mobile devices</a:t>
            </a:r>
          </a:p>
          <a:p>
            <a:pPr lvl="1"/>
            <a:r>
              <a:rPr lang="en-GB" dirty="0">
                <a:solidFill>
                  <a:schemeClr val="bg2">
                    <a:lumMod val="50000"/>
                  </a:schemeClr>
                </a:solidFill>
              </a:rPr>
              <a:t>Any digital device</a:t>
            </a:r>
          </a:p>
          <a:p>
            <a:pPr lvl="1"/>
            <a:r>
              <a:rPr lang="en-GB" dirty="0">
                <a:solidFill>
                  <a:schemeClr val="bg2">
                    <a:lumMod val="50000"/>
                  </a:schemeClr>
                </a:solidFill>
              </a:rPr>
              <a:t>Any point on the Network</a:t>
            </a:r>
          </a:p>
          <a:p>
            <a:pPr lvl="1"/>
            <a:r>
              <a:rPr lang="en-GB" b="1" dirty="0">
                <a:solidFill>
                  <a:schemeClr val="tx2"/>
                </a:solidFill>
              </a:rPr>
              <a:t>Personal “Cloud” services</a:t>
            </a:r>
          </a:p>
          <a:p>
            <a:pPr lvl="1"/>
            <a:r>
              <a:rPr lang="en-GB" b="1" dirty="0">
                <a:solidFill>
                  <a:schemeClr val="tx2"/>
                </a:solidFill>
              </a:rPr>
              <a:t>Cloud Services</a:t>
            </a:r>
          </a:p>
          <a:p>
            <a:pPr lvl="1"/>
            <a:r>
              <a:rPr lang="en-GB" dirty="0">
                <a:solidFill>
                  <a:schemeClr val="bg2">
                    <a:lumMod val="50000"/>
                  </a:schemeClr>
                </a:solidFill>
              </a:rPr>
              <a:t>Communication tools and systems</a:t>
            </a:r>
          </a:p>
          <a:p>
            <a:pPr lvl="1"/>
            <a:endParaRPr lang="en-GB" dirty="0"/>
          </a:p>
          <a:p>
            <a:endParaRPr lang="en-GB" dirty="0"/>
          </a:p>
        </p:txBody>
      </p:sp>
      <p:sp>
        <p:nvSpPr>
          <p:cNvPr id="10" name="Text Placeholder 9"/>
          <p:cNvSpPr>
            <a:spLocks noGrp="1"/>
          </p:cNvSpPr>
          <p:nvPr>
            <p:ph type="body" sz="quarter" idx="15"/>
          </p:nvPr>
        </p:nvSpPr>
        <p:spPr>
          <a:xfrm>
            <a:off x="7590601" y="3900967"/>
            <a:ext cx="4384041" cy="2736304"/>
          </a:xfrm>
          <a:solidFill>
            <a:schemeClr val="bg2">
              <a:lumMod val="20000"/>
              <a:lumOff val="80000"/>
            </a:schemeClr>
          </a:solidFill>
        </p:spPr>
        <p:txBody>
          <a:bodyPr>
            <a:normAutofit lnSpcReduction="10000"/>
          </a:bodyPr>
          <a:lstStyle/>
          <a:p>
            <a:pPr algn="ctr"/>
            <a:r>
              <a:rPr lang="en-GB" dirty="0"/>
              <a:t>PEOPLE</a:t>
            </a:r>
          </a:p>
          <a:p>
            <a:endParaRPr lang="en-GB" dirty="0"/>
          </a:p>
          <a:p>
            <a:pPr lvl="1"/>
            <a:r>
              <a:rPr lang="en-GB" dirty="0"/>
              <a:t>Capacity and skills</a:t>
            </a:r>
          </a:p>
          <a:p>
            <a:pPr lvl="1"/>
            <a:r>
              <a:rPr lang="en-GB" b="1" dirty="0">
                <a:solidFill>
                  <a:schemeClr val="tx2"/>
                </a:solidFill>
              </a:rPr>
              <a:t>Awareness, responsibility, accountability and consequence</a:t>
            </a:r>
          </a:p>
          <a:p>
            <a:pPr lvl="1"/>
            <a:r>
              <a:rPr lang="en-GB" b="1" dirty="0">
                <a:solidFill>
                  <a:schemeClr val="tx2"/>
                </a:solidFill>
              </a:rPr>
              <a:t>End-user behaviour, work culture and attitudes</a:t>
            </a:r>
          </a:p>
          <a:p>
            <a:pPr lvl="1"/>
            <a:r>
              <a:rPr lang="en-GB" dirty="0"/>
              <a:t>Mistakes, Errors and Negligence</a:t>
            </a:r>
          </a:p>
          <a:p>
            <a:pPr lvl="1"/>
            <a:r>
              <a:rPr lang="en-GB" dirty="0"/>
              <a:t>Deliberate leakage and sabotage</a:t>
            </a:r>
          </a:p>
          <a:p>
            <a:pPr lvl="1"/>
            <a:r>
              <a:rPr lang="en-GB" dirty="0"/>
              <a:t>Criminal behaviour</a:t>
            </a:r>
          </a:p>
          <a:p>
            <a:pPr lvl="1"/>
            <a:r>
              <a:rPr lang="en-GB" b="1" dirty="0">
                <a:solidFill>
                  <a:schemeClr val="tx2"/>
                </a:solidFill>
              </a:rPr>
              <a:t>Disgruntled employees and managers</a:t>
            </a:r>
          </a:p>
          <a:p>
            <a:pPr lvl="1"/>
            <a:r>
              <a:rPr lang="en-GB" dirty="0"/>
              <a:t>Contractors and Contracting parties</a:t>
            </a:r>
          </a:p>
          <a:p>
            <a:endParaRPr lang="en-GB" dirty="0"/>
          </a:p>
        </p:txBody>
      </p:sp>
      <p:sp>
        <p:nvSpPr>
          <p:cNvPr id="12" name="Slide Number Placeholder 1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3" name="Text Placeholder 9"/>
          <p:cNvSpPr>
            <a:spLocks noGrp="1"/>
          </p:cNvSpPr>
          <p:nvPr>
            <p:ph type="body" sz="quarter" idx="15"/>
          </p:nvPr>
        </p:nvSpPr>
        <p:spPr>
          <a:xfrm>
            <a:off x="7590599" y="1102952"/>
            <a:ext cx="4384043" cy="2657146"/>
          </a:xfrm>
          <a:solidFill>
            <a:schemeClr val="accent1">
              <a:lumMod val="20000"/>
              <a:lumOff val="80000"/>
            </a:schemeClr>
          </a:solidFill>
        </p:spPr>
        <p:txBody>
          <a:bodyPr>
            <a:normAutofit lnSpcReduction="10000"/>
          </a:bodyPr>
          <a:lstStyle/>
          <a:p>
            <a:pPr algn="ctr"/>
            <a:r>
              <a:rPr lang="en-GB" dirty="0"/>
              <a:t>PROCESS</a:t>
            </a:r>
          </a:p>
          <a:p>
            <a:endParaRPr lang="en-GB" dirty="0"/>
          </a:p>
          <a:p>
            <a:pPr lvl="1"/>
            <a:r>
              <a:rPr lang="en-GB" dirty="0"/>
              <a:t>IT Security Framework, Policy, Standards, Controls &amp; Procedures</a:t>
            </a:r>
          </a:p>
          <a:p>
            <a:pPr lvl="1"/>
            <a:r>
              <a:rPr lang="en-GB" dirty="0"/>
              <a:t>IT Security Risk Management supporting the IT Risk Management and feeding into ERM</a:t>
            </a:r>
          </a:p>
          <a:p>
            <a:pPr lvl="1"/>
            <a:r>
              <a:rPr lang="en-GB" b="1" dirty="0">
                <a:solidFill>
                  <a:schemeClr val="tx2"/>
                </a:solidFill>
              </a:rPr>
              <a:t>Incident and Breach Management</a:t>
            </a:r>
          </a:p>
          <a:p>
            <a:pPr lvl="1"/>
            <a:r>
              <a:rPr lang="en-GB" b="1" dirty="0">
                <a:solidFill>
                  <a:schemeClr val="tx2"/>
                </a:solidFill>
              </a:rPr>
              <a:t>Change Control Management</a:t>
            </a:r>
          </a:p>
          <a:p>
            <a:pPr lvl="1"/>
            <a:r>
              <a:rPr lang="en-GB" dirty="0"/>
              <a:t>IT Security Forum</a:t>
            </a:r>
          </a:p>
          <a:p>
            <a:pPr lvl="1"/>
            <a:r>
              <a:rPr lang="en-GB" dirty="0"/>
              <a:t>IT Security Steercom</a:t>
            </a:r>
          </a:p>
          <a:p>
            <a:pPr lvl="1"/>
            <a:r>
              <a:rPr lang="en-GB" dirty="0"/>
              <a:t>Systems administration</a:t>
            </a:r>
          </a:p>
          <a:p>
            <a:pPr lvl="1"/>
            <a:endParaRPr lang="en-GB" dirty="0"/>
          </a:p>
          <a:p>
            <a:endParaRPr lang="en-GB" dirty="0"/>
          </a:p>
        </p:txBody>
      </p:sp>
      <p:sp>
        <p:nvSpPr>
          <p:cNvPr id="2" name="Oval 1">
            <a:extLst>
              <a:ext uri="{FF2B5EF4-FFF2-40B4-BE49-F238E27FC236}">
                <a16:creationId xmlns:a16="http://schemas.microsoft.com/office/drawing/2014/main" xmlns="" id="{6202C683-B65B-4649-9798-0A6F548E3A9A}"/>
              </a:ext>
            </a:extLst>
          </p:cNvPr>
          <p:cNvSpPr/>
          <p:nvPr/>
        </p:nvSpPr>
        <p:spPr>
          <a:xfrm>
            <a:off x="5390774" y="2946028"/>
            <a:ext cx="1011836" cy="97436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Century Gothic"/>
                <a:ea typeface="+mn-ea"/>
                <a:cs typeface="+mn-cs"/>
              </a:rPr>
              <a:t>Effective ICT Security</a:t>
            </a:r>
          </a:p>
        </p:txBody>
      </p:sp>
      <p:sp>
        <p:nvSpPr>
          <p:cNvPr id="3" name="Rectangle 2">
            <a:extLst>
              <a:ext uri="{FF2B5EF4-FFF2-40B4-BE49-F238E27FC236}">
                <a16:creationId xmlns:a16="http://schemas.microsoft.com/office/drawing/2014/main" xmlns="" id="{9D500D78-BD8F-4695-A2E4-F6103F76597E}"/>
              </a:ext>
            </a:extLst>
          </p:cNvPr>
          <p:cNvSpPr/>
          <p:nvPr/>
        </p:nvSpPr>
        <p:spPr>
          <a:xfrm>
            <a:off x="4364698" y="5480053"/>
            <a:ext cx="2972987" cy="523220"/>
          </a:xfrm>
          <a:prstGeom prst="rect">
            <a:avLst/>
          </a:prstGeom>
        </p:spPr>
        <p:txBody>
          <a:bodyPr wrap="square">
            <a:spAutoFit/>
          </a:bodyPr>
          <a:lstStyle/>
          <a:p>
            <a:pPr marL="0" marR="0" lvl="1" indent="0" algn="ctr" defTabSz="914400" rtl="0" eaLnBrk="1" fontAlgn="auto" latinLnBrk="0" hangingPunct="1">
              <a:lnSpc>
                <a:spcPct val="100000"/>
              </a:lnSpc>
              <a:spcBef>
                <a:spcPts val="300"/>
              </a:spcBef>
              <a:spcAft>
                <a:spcPts val="0"/>
              </a:spcAft>
              <a:buClr>
                <a:srgbClr val="002060"/>
              </a:buClr>
              <a:buSzTx/>
              <a:buFontTx/>
              <a:buNone/>
              <a:tabLst/>
              <a:defRPr/>
            </a:pPr>
            <a:r>
              <a:rPr kumimoji="0" lang="de-DE" altLang="en-US" sz="1400" b="0" i="0" u="none" strike="noStrike" kern="1200" cap="none" spc="0" normalizeH="0" baseline="0" noProof="0" dirty="0">
                <a:ln>
                  <a:noFill/>
                </a:ln>
                <a:solidFill>
                  <a:srgbClr val="ACCBF9">
                    <a:lumMod val="50000"/>
                  </a:srgbClr>
                </a:solidFill>
                <a:effectLst/>
                <a:uLnTx/>
                <a:uFillTx/>
                <a:latin typeface="Century Gothic" pitchFamily="34" charset="0"/>
                <a:ea typeface="+mn-ea"/>
                <a:cs typeface="+mn-cs"/>
              </a:rPr>
              <a:t>Undepinnned by legislation, governance and controls</a:t>
            </a:r>
          </a:p>
        </p:txBody>
      </p:sp>
    </p:spTree>
    <p:custDataLst>
      <p:tags r:id="rId1"/>
    </p:custDataLst>
    <p:extLst>
      <p:ext uri="{BB962C8B-B14F-4D97-AF65-F5344CB8AC3E}">
        <p14:creationId xmlns:p14="http://schemas.microsoft.com/office/powerpoint/2010/main" xmlns="" val="38367116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FBC43C-03F8-488A-B269-872CCFCCE18C}"/>
              </a:ext>
            </a:extLst>
          </p:cNvPr>
          <p:cNvSpPr>
            <a:spLocks noGrp="1"/>
          </p:cNvSpPr>
          <p:nvPr>
            <p:ph type="title"/>
          </p:nvPr>
        </p:nvSpPr>
        <p:spPr/>
        <p:txBody>
          <a:bodyPr/>
          <a:lstStyle/>
          <a:p>
            <a:r>
              <a:rPr lang="en-US" dirty="0"/>
              <a:t>Attacks seen on the network</a:t>
            </a:r>
          </a:p>
        </p:txBody>
      </p:sp>
      <p:sp>
        <p:nvSpPr>
          <p:cNvPr id="3" name="Slide Number Placeholder 2">
            <a:extLst>
              <a:ext uri="{FF2B5EF4-FFF2-40B4-BE49-F238E27FC236}">
                <a16:creationId xmlns:a16="http://schemas.microsoft.com/office/drawing/2014/main" xmlns="" id="{224EC3C3-7F25-42D2-A920-ACDD8F8E088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88096EEF-10A9-41EA-BCE3-3035F8740F96}"/>
              </a:ext>
            </a:extLst>
          </p:cNvPr>
          <p:cNvSpPr>
            <a:spLocks noGrp="1"/>
          </p:cNvSpPr>
          <p:nvPr>
            <p:ph type="body" sz="quarter" idx="10"/>
          </p:nvPr>
        </p:nvSpPr>
        <p:spPr>
          <a:xfrm>
            <a:off x="513447" y="1352869"/>
            <a:ext cx="3630490" cy="4848817"/>
          </a:xfrm>
        </p:spPr>
        <p:txBody>
          <a:bodyPr/>
          <a:lstStyle/>
          <a:p>
            <a:r>
              <a:rPr lang="en-US" dirty="0"/>
              <a:t>Attacks seen on the firewall</a:t>
            </a:r>
          </a:p>
          <a:p>
            <a:endParaRPr lang="en-US" dirty="0"/>
          </a:p>
        </p:txBody>
      </p:sp>
      <p:pic>
        <p:nvPicPr>
          <p:cNvPr id="6" name="Picture 6" descr="Inserting image...">
            <a:extLst>
              <a:ext uri="{FF2B5EF4-FFF2-40B4-BE49-F238E27FC236}">
                <a16:creationId xmlns:a16="http://schemas.microsoft.com/office/drawing/2014/main" xmlns="" id="{DB8655C8-D53D-43F3-8B07-F137029C9390}"/>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455105" y="1672325"/>
            <a:ext cx="3630490" cy="4162647"/>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extBox 6">
            <a:extLst>
              <a:ext uri="{FF2B5EF4-FFF2-40B4-BE49-F238E27FC236}">
                <a16:creationId xmlns:a16="http://schemas.microsoft.com/office/drawing/2014/main" xmlns="" id="{CB285035-59CC-4358-B1E1-258AF6E5DEE5}"/>
              </a:ext>
            </a:extLst>
          </p:cNvPr>
          <p:cNvSpPr txBox="1"/>
          <p:nvPr/>
        </p:nvSpPr>
        <p:spPr>
          <a:xfrm>
            <a:off x="4748061" y="1438183"/>
            <a:ext cx="383671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mn-cs"/>
              </a:rPr>
              <a:t>Security events seen on the network</a:t>
            </a:r>
          </a:p>
        </p:txBody>
      </p:sp>
      <p:pic>
        <p:nvPicPr>
          <p:cNvPr id="8" name="Picture 7">
            <a:extLst>
              <a:ext uri="{FF2B5EF4-FFF2-40B4-BE49-F238E27FC236}">
                <a16:creationId xmlns:a16="http://schemas.microsoft.com/office/drawing/2014/main" xmlns="" id="{826214CD-ED3B-449C-8A3A-C983BAE3C86B}"/>
              </a:ext>
            </a:extLst>
          </p:cNvPr>
          <p:cNvPicPr>
            <a:picLocks noChangeAspect="1"/>
          </p:cNvPicPr>
          <p:nvPr/>
        </p:nvPicPr>
        <p:blipFill>
          <a:blip r:embed="rId3" cstate="print"/>
          <a:stretch>
            <a:fillRect/>
          </a:stretch>
        </p:blipFill>
        <p:spPr>
          <a:xfrm>
            <a:off x="4748062" y="2016026"/>
            <a:ext cx="6666244" cy="3415821"/>
          </a:xfrm>
          <a:prstGeom prst="rect">
            <a:avLst/>
          </a:prstGeom>
        </p:spPr>
      </p:pic>
      <p:sp>
        <p:nvSpPr>
          <p:cNvPr id="9" name="Rectangle: Rounded Corners 8">
            <a:extLst>
              <a:ext uri="{FF2B5EF4-FFF2-40B4-BE49-F238E27FC236}">
                <a16:creationId xmlns:a16="http://schemas.microsoft.com/office/drawing/2014/main" xmlns="" id="{4D0BA9DF-309F-4F87-9EF7-D11543561055}"/>
              </a:ext>
            </a:extLst>
          </p:cNvPr>
          <p:cNvSpPr/>
          <p:nvPr/>
        </p:nvSpPr>
        <p:spPr>
          <a:xfrm>
            <a:off x="373493" y="1161483"/>
            <a:ext cx="3630490" cy="494414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10" name="Rectangle: Rounded Corners 9">
            <a:extLst>
              <a:ext uri="{FF2B5EF4-FFF2-40B4-BE49-F238E27FC236}">
                <a16:creationId xmlns:a16="http://schemas.microsoft.com/office/drawing/2014/main" xmlns="" id="{0C26CC1E-1272-441A-AFAD-03AA39935225}"/>
              </a:ext>
            </a:extLst>
          </p:cNvPr>
          <p:cNvSpPr/>
          <p:nvPr/>
        </p:nvSpPr>
        <p:spPr>
          <a:xfrm>
            <a:off x="4301862" y="1172369"/>
            <a:ext cx="7591919" cy="4944140"/>
          </a:xfrm>
          <a:prstGeom prst="round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Century Gothic"/>
              <a:ea typeface="+mn-ea"/>
              <a:cs typeface="+mn-cs"/>
            </a:endParaRPr>
          </a:p>
        </p:txBody>
      </p:sp>
    </p:spTree>
    <p:extLst>
      <p:ext uri="{BB962C8B-B14F-4D97-AF65-F5344CB8AC3E}">
        <p14:creationId xmlns:p14="http://schemas.microsoft.com/office/powerpoint/2010/main" xmlns="" val="37376789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01A5C96E-2EA1-4F7C-BCA4-352440B4ED0F}"/>
              </a:ext>
            </a:extLst>
          </p:cNvPr>
          <p:cNvSpPr>
            <a:spLocks noGrp="1"/>
          </p:cNvSpPr>
          <p:nvPr>
            <p:ph type="body" sz="quarter" idx="12"/>
          </p:nvPr>
        </p:nvSpPr>
        <p:spPr/>
        <p:txBody>
          <a:bodyPr/>
          <a:lstStyle/>
          <a:p>
            <a:r>
              <a:rPr lang="en-US" dirty="0"/>
              <a:t>Our Information Security Maturity</a:t>
            </a:r>
          </a:p>
        </p:txBody>
      </p:sp>
    </p:spTree>
    <p:extLst>
      <p:ext uri="{BB962C8B-B14F-4D97-AF65-F5344CB8AC3E}">
        <p14:creationId xmlns:p14="http://schemas.microsoft.com/office/powerpoint/2010/main" xmlns="" val="3400180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356" y="95306"/>
            <a:ext cx="11276013" cy="907052"/>
          </a:xfrm>
        </p:spPr>
        <p:txBody>
          <a:bodyPr/>
          <a:lstStyle/>
          <a:p>
            <a:r>
              <a:rPr lang="en-US" sz="2200" dirty="0"/>
              <a:t>What is Your Overall Maturity?</a:t>
            </a:r>
          </a:p>
        </p:txBody>
      </p:sp>
      <p:pic>
        <p:nvPicPr>
          <p:cNvPr id="4" name="New picture"/>
          <p:cNvPicPr/>
          <p:nvPr/>
        </p:nvPicPr>
        <p:blipFill>
          <a:blip r:embed="rId2" cstate="print"/>
          <a:stretch>
            <a:fillRect/>
          </a:stretch>
        </p:blipFill>
        <p:spPr>
          <a:xfrm>
            <a:off x="177005" y="1308139"/>
            <a:ext cx="12014995" cy="4955097"/>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092" y="201364"/>
            <a:ext cx="11276013" cy="641069"/>
          </a:xfrm>
        </p:spPr>
        <p:txBody>
          <a:bodyPr/>
          <a:lstStyle/>
          <a:p>
            <a:r>
              <a:rPr lang="en-US" sz="2200" dirty="0"/>
              <a:t>How Mature Are Your Functional Activities?</a:t>
            </a:r>
          </a:p>
        </p:txBody>
      </p:sp>
      <p:pic>
        <p:nvPicPr>
          <p:cNvPr id="4" name="New picture"/>
          <p:cNvPicPr/>
          <p:nvPr/>
        </p:nvPicPr>
        <p:blipFill>
          <a:blip r:embed="rId2" cstate="print"/>
          <a:stretch>
            <a:fillRect/>
          </a:stretch>
        </p:blipFill>
        <p:spPr>
          <a:xfrm>
            <a:off x="-624106" y="1213688"/>
            <a:ext cx="13628006" cy="5442948"/>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000" y="231137"/>
            <a:ext cx="11276013" cy="398308"/>
          </a:xfrm>
        </p:spPr>
        <p:txBody>
          <a:bodyPr/>
          <a:lstStyle/>
          <a:p>
            <a:r>
              <a:rPr lang="en-US" sz="2200" dirty="0"/>
              <a:t>High Priority Area: Develop Strategy</a:t>
            </a:r>
          </a:p>
        </p:txBody>
      </p:sp>
      <p:pic>
        <p:nvPicPr>
          <p:cNvPr id="4" name="New picture"/>
          <p:cNvPicPr/>
          <p:nvPr/>
        </p:nvPicPr>
        <p:blipFill>
          <a:blip r:embed="rId2" cstate="print"/>
          <a:stretch>
            <a:fillRect/>
          </a:stretch>
        </p:blipFill>
        <p:spPr>
          <a:xfrm>
            <a:off x="254000" y="1206270"/>
            <a:ext cx="11684000" cy="5032175"/>
          </a:xfrm>
          <a:prstGeom prst="rect">
            <a:avLst/>
          </a:prstGeom>
        </p:spPr>
      </p:pic>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DA1CC3A2-6C9B-40E4-B170-7EBCBEF27E7C}"/>
              </a:ext>
            </a:extLst>
          </p:cNvPr>
          <p:cNvSpPr>
            <a:spLocks noGrp="1"/>
          </p:cNvSpPr>
          <p:nvPr>
            <p:ph type="body" sz="quarter" idx="12"/>
          </p:nvPr>
        </p:nvSpPr>
        <p:spPr/>
        <p:txBody>
          <a:bodyPr/>
          <a:lstStyle/>
          <a:p>
            <a:r>
              <a:rPr lang="en-US" dirty="0"/>
              <a:t>Risk Recon Assessment</a:t>
            </a:r>
          </a:p>
        </p:txBody>
      </p:sp>
    </p:spTree>
    <p:extLst>
      <p:ext uri="{BB962C8B-B14F-4D97-AF65-F5344CB8AC3E}">
        <p14:creationId xmlns:p14="http://schemas.microsoft.com/office/powerpoint/2010/main" xmlns="" val="2550777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drawing&#10;&#10;Description automatically generated">
            <a:extLst>
              <a:ext uri="{FF2B5EF4-FFF2-40B4-BE49-F238E27FC236}">
                <a16:creationId xmlns:a16="http://schemas.microsoft.com/office/drawing/2014/main" xmlns="" id="{A529794E-FB73-47DD-9185-3529504D334C}"/>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b="9851"/>
          <a:stretch/>
        </p:blipFill>
        <p:spPr>
          <a:xfrm>
            <a:off x="10710076" y="6051679"/>
            <a:ext cx="1097523" cy="588634"/>
          </a:xfrm>
          <a:prstGeom prst="rect">
            <a:avLst/>
          </a:prstGeom>
        </p:spPr>
      </p:pic>
      <p:sp>
        <p:nvSpPr>
          <p:cNvPr id="5" name="Title 4"/>
          <p:cNvSpPr>
            <a:spLocks noGrp="1"/>
          </p:cNvSpPr>
          <p:nvPr>
            <p:ph type="ctrTitle"/>
          </p:nvPr>
        </p:nvSpPr>
        <p:spPr>
          <a:xfrm>
            <a:off x="862383" y="2975995"/>
            <a:ext cx="10945216" cy="1356650"/>
          </a:xfrm>
        </p:spPr>
        <p:txBody>
          <a:bodyPr>
            <a:normAutofit/>
          </a:bodyPr>
          <a:lstStyle/>
          <a:p>
            <a:pPr algn="ctr"/>
            <a:r>
              <a:rPr lang="en-US" sz="4000" dirty="0"/>
              <a:t>BROADBAND UPDATE</a:t>
            </a:r>
            <a:endParaRPr lang="en-US" sz="4000" i="1" dirty="0"/>
          </a:p>
        </p:txBody>
      </p:sp>
    </p:spTree>
    <p:extLst>
      <p:ext uri="{BB962C8B-B14F-4D97-AF65-F5344CB8AC3E}">
        <p14:creationId xmlns:p14="http://schemas.microsoft.com/office/powerpoint/2010/main" xmlns="" val="38161461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2703CD04-D0EA-4BCD-93E5-2BF156183150}"/>
              </a:ext>
            </a:extLst>
          </p:cNvPr>
          <p:cNvSpPr>
            <a:spLocks noGrp="1"/>
          </p:cNvSpPr>
          <p:nvPr>
            <p:ph type="title"/>
          </p:nvPr>
        </p:nvSpPr>
        <p:spPr/>
        <p:txBody>
          <a:bodyPr/>
          <a:lstStyle/>
          <a:p>
            <a:r>
              <a:rPr lang="en-US" dirty="0"/>
              <a:t>Network Scan (Risk Recon)</a:t>
            </a:r>
          </a:p>
        </p:txBody>
      </p:sp>
      <p:pic>
        <p:nvPicPr>
          <p:cNvPr id="5" name="Picture 4">
            <a:extLst>
              <a:ext uri="{FF2B5EF4-FFF2-40B4-BE49-F238E27FC236}">
                <a16:creationId xmlns:a16="http://schemas.microsoft.com/office/drawing/2014/main" xmlns="" id="{D807E64C-01EB-49A2-A2FF-1EB2019A7B28}"/>
              </a:ext>
            </a:extLst>
          </p:cNvPr>
          <p:cNvPicPr>
            <a:picLocks noChangeAspect="1"/>
          </p:cNvPicPr>
          <p:nvPr/>
        </p:nvPicPr>
        <p:blipFill>
          <a:blip r:embed="rId2" cstate="print"/>
          <a:stretch>
            <a:fillRect/>
          </a:stretch>
        </p:blipFill>
        <p:spPr>
          <a:xfrm>
            <a:off x="393700" y="1127760"/>
            <a:ext cx="10955020" cy="5549264"/>
          </a:xfrm>
          <a:prstGeom prst="rect">
            <a:avLst/>
          </a:prstGeom>
        </p:spPr>
      </p:pic>
    </p:spTree>
    <p:extLst>
      <p:ext uri="{BB962C8B-B14F-4D97-AF65-F5344CB8AC3E}">
        <p14:creationId xmlns:p14="http://schemas.microsoft.com/office/powerpoint/2010/main" xmlns="" val="12008164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xmlns="" id="{5C4B4D89-DB0C-4192-A6D5-084E96FB0FF8}"/>
              </a:ext>
            </a:extLst>
          </p:cNvPr>
          <p:cNvSpPr>
            <a:spLocks noGrp="1"/>
          </p:cNvSpPr>
          <p:nvPr>
            <p:ph type="body" sz="quarter" idx="12"/>
          </p:nvPr>
        </p:nvSpPr>
        <p:spPr/>
        <p:txBody>
          <a:bodyPr/>
          <a:lstStyle/>
          <a:p>
            <a:r>
              <a:rPr lang="en-US" dirty="0"/>
              <a:t>How are we mitigating our cyber security risks?</a:t>
            </a:r>
          </a:p>
        </p:txBody>
      </p:sp>
      <p:sp>
        <p:nvSpPr>
          <p:cNvPr id="3" name="Slide Number Placeholder 2">
            <a:extLst>
              <a:ext uri="{FF2B5EF4-FFF2-40B4-BE49-F238E27FC236}">
                <a16:creationId xmlns:a16="http://schemas.microsoft.com/office/drawing/2014/main" xmlns="" id="{29C060D5-6125-44E0-9BE7-FD4AC725F762}"/>
              </a:ext>
            </a:extLst>
          </p:cNvPr>
          <p:cNvSpPr>
            <a:spLocks noGrp="1"/>
          </p:cNvSpPr>
          <p:nvPr>
            <p:ph type="sldNum" sz="quarter" idx="4294967295"/>
          </p:nvPr>
        </p:nvSpPr>
        <p:spPr>
          <a:xfrm>
            <a:off x="11506200" y="6467475"/>
            <a:ext cx="685800" cy="23177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xmlns="" val="2049836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51A8FFE9-8A3B-4D12-B3BE-1BB3ED8FB9CD}"/>
              </a:ext>
            </a:extLst>
          </p:cNvPr>
          <p:cNvSpPr>
            <a:spLocks noGrp="1"/>
          </p:cNvSpPr>
          <p:nvPr>
            <p:ph type="body" sz="quarter" idx="12"/>
          </p:nvPr>
        </p:nvSpPr>
        <p:spPr/>
        <p:txBody>
          <a:bodyPr/>
          <a:lstStyle/>
          <a:p>
            <a:r>
              <a:rPr lang="en-US" dirty="0"/>
              <a:t>Phishing</a:t>
            </a:r>
          </a:p>
        </p:txBody>
      </p:sp>
    </p:spTree>
    <p:extLst>
      <p:ext uri="{BB962C8B-B14F-4D97-AF65-F5344CB8AC3E}">
        <p14:creationId xmlns:p14="http://schemas.microsoft.com/office/powerpoint/2010/main" xmlns="" val="37792609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9883C77-30CA-46EB-B828-C21DF49047C1}"/>
              </a:ext>
            </a:extLst>
          </p:cNvPr>
          <p:cNvSpPr>
            <a:spLocks noGrp="1"/>
          </p:cNvSpPr>
          <p:nvPr>
            <p:ph type="title"/>
          </p:nvPr>
        </p:nvSpPr>
        <p:spPr>
          <a:xfrm>
            <a:off x="551384" y="153145"/>
            <a:ext cx="11449272" cy="727745"/>
          </a:xfrm>
        </p:spPr>
        <p:txBody>
          <a:bodyPr/>
          <a:lstStyle/>
          <a:p>
            <a:r>
              <a:rPr lang="en-US" i="1" dirty="0"/>
              <a:t>“Catching the big fish: Analyzing a large-scale Phishing-as-a-Service </a:t>
            </a:r>
            <a:br>
              <a:rPr lang="en-US" i="1" dirty="0"/>
            </a:br>
            <a:r>
              <a:rPr lang="en-US" i="1" dirty="0"/>
              <a:t>operation”</a:t>
            </a:r>
          </a:p>
        </p:txBody>
      </p:sp>
      <p:sp>
        <p:nvSpPr>
          <p:cNvPr id="3" name="Slide Number Placeholder 2">
            <a:extLst>
              <a:ext uri="{FF2B5EF4-FFF2-40B4-BE49-F238E27FC236}">
                <a16:creationId xmlns:a16="http://schemas.microsoft.com/office/drawing/2014/main" xmlns="" id="{27D8D131-529F-4733-8962-28E029F1CAE8}"/>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E58AFA09-A4C0-456B-A0FE-FEFF7B073CC9}"/>
              </a:ext>
            </a:extLst>
          </p:cNvPr>
          <p:cNvSpPr>
            <a:spLocks noGrp="1"/>
          </p:cNvSpPr>
          <p:nvPr>
            <p:ph type="body" sz="quarter" idx="10"/>
          </p:nvPr>
        </p:nvSpPr>
        <p:spPr>
          <a:xfrm>
            <a:off x="335360" y="1298256"/>
            <a:ext cx="7828252" cy="5400726"/>
          </a:xfrm>
          <a:prstGeom prst="round2DiagRect">
            <a:avLst/>
          </a:prstGeom>
          <a:ln w="19050">
            <a:solidFill>
              <a:schemeClr val="accent1"/>
            </a:solidFill>
          </a:ln>
        </p:spPr>
        <p:txBody>
          <a:bodyPr>
            <a:noAutofit/>
          </a:bodyPr>
          <a:lstStyle/>
          <a:p>
            <a:r>
              <a:rPr lang="en-US" sz="1800" b="0" dirty="0">
                <a:latin typeface="+mn-lt"/>
              </a:rPr>
              <a:t>“In researching phishing attacks, we came across a campaign that used a rather high volume of newly created and unique subdomains—over 300,000 in a single run. This investigation led us down a rabbit hole as we unearthed one of the operations that enabled the campaign: </a:t>
            </a:r>
            <a:r>
              <a:rPr lang="en-US" sz="1800" i="1" dirty="0">
                <a:solidFill>
                  <a:schemeClr val="tx2"/>
                </a:solidFill>
                <a:latin typeface="+mn-lt"/>
              </a:rPr>
              <a:t>a large-scale phishing-as-a-service operation called BulletProofLink, which sells phishing kits, email templates, hosting, and automated services at a relatively low cost</a:t>
            </a:r>
            <a:r>
              <a:rPr lang="en-US" sz="1800" b="0" dirty="0">
                <a:latin typeface="+mn-lt"/>
              </a:rPr>
              <a:t>.</a:t>
            </a:r>
          </a:p>
          <a:p>
            <a:endParaRPr lang="en-US" sz="1800" b="0" dirty="0">
              <a:latin typeface="+mn-lt"/>
            </a:endParaRPr>
          </a:p>
          <a:p>
            <a:r>
              <a:rPr lang="en-US" sz="1800" b="0" dirty="0">
                <a:latin typeface="+mn-lt"/>
              </a:rPr>
              <a:t>With over 100 available phishing templates that mimic known brands and services, the BulletProofLink operation is responsible for many of the phishing campaigns that impact enterprises today. BulletProofLink (also referred to as BulletProftLink or Anthrax by its operators in various websites, ads, and other promotional materials) is used by multiple attacker groups in either one-off or monthly subscription-based business models, creating a steady revenue stream for its operators.”</a:t>
            </a:r>
          </a:p>
        </p:txBody>
      </p:sp>
      <p:sp>
        <p:nvSpPr>
          <p:cNvPr id="7" name="TextBox 6">
            <a:extLst>
              <a:ext uri="{FF2B5EF4-FFF2-40B4-BE49-F238E27FC236}">
                <a16:creationId xmlns:a16="http://schemas.microsoft.com/office/drawing/2014/main" xmlns="" id="{436A437C-7021-4BD1-9113-B716344D45AD}"/>
              </a:ext>
            </a:extLst>
          </p:cNvPr>
          <p:cNvSpPr txBox="1"/>
          <p:nvPr/>
        </p:nvSpPr>
        <p:spPr>
          <a:xfrm>
            <a:off x="8474697" y="1627928"/>
            <a:ext cx="3381943" cy="4555093"/>
          </a:xfrm>
          <a:prstGeom prst="rect">
            <a:avLst/>
          </a:prstGeom>
          <a:solidFill>
            <a:schemeClr val="accent3">
              <a:lumMod val="20000"/>
              <a:lumOff val="8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Types of Phish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Whaling: </a:t>
            </a: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A targeted type of phishing attack that goes after executives  in an organisation as well as employees in crucial positions (e.g. Finance) - </a:t>
            </a: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Smishing</a:t>
            </a: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A phishing attack that uses text messaging or short messaging service (SMS) to execute the attack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Spear Phishing</a:t>
            </a:r>
            <a:r>
              <a:rPr kumimoji="0" lang="en-US" sz="16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A phishing attack that uses prior research to target specific individuals and groups to persuade users to share personal information </a:t>
            </a:r>
            <a:r>
              <a:rPr kumimoji="0" lang="en-US" sz="1800" b="0" i="0" u="none" strike="noStrike" kern="1200" cap="none" spc="0" normalizeH="0" baseline="0" noProof="0" dirty="0">
                <a:ln>
                  <a:noFill/>
                </a:ln>
                <a:solidFill>
                  <a:srgbClr val="000000"/>
                </a:solidFill>
                <a:effectLst/>
                <a:uLnTx/>
                <a:uFillTx/>
                <a:latin typeface="Century Gothic" panose="020B0502020202020204" pitchFamily="34" charset="0"/>
                <a:ea typeface="Calibri" panose="020F0502020204030204" pitchFamily="34" charset="0"/>
                <a:cs typeface="+mn-cs"/>
              </a:rPr>
              <a:t>– </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Tree>
    <p:extLst>
      <p:ext uri="{BB962C8B-B14F-4D97-AF65-F5344CB8AC3E}">
        <p14:creationId xmlns:p14="http://schemas.microsoft.com/office/powerpoint/2010/main" xmlns="" val="6981623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9C9A952D-CA75-43EF-8AF2-A7ABB6BCCFAF}"/>
              </a:ext>
            </a:extLst>
          </p:cNvPr>
          <p:cNvSpPr>
            <a:spLocks noGrp="1"/>
          </p:cNvSpPr>
          <p:nvPr>
            <p:ph type="title"/>
          </p:nvPr>
        </p:nvSpPr>
        <p:spPr/>
        <p:txBody>
          <a:bodyPr/>
          <a:lstStyle/>
          <a:p>
            <a:r>
              <a:rPr lang="en-US" dirty="0"/>
              <a:t>Results of a recent security awareness poll </a:t>
            </a:r>
          </a:p>
        </p:txBody>
      </p:sp>
      <p:sp>
        <p:nvSpPr>
          <p:cNvPr id="4" name="Text Placeholder 3">
            <a:extLst>
              <a:ext uri="{FF2B5EF4-FFF2-40B4-BE49-F238E27FC236}">
                <a16:creationId xmlns:a16="http://schemas.microsoft.com/office/drawing/2014/main" xmlns="" id="{D7FFFB13-CABE-41AC-9155-D56A1611BCDC}"/>
              </a:ext>
            </a:extLst>
          </p:cNvPr>
          <p:cNvSpPr>
            <a:spLocks noGrp="1"/>
          </p:cNvSpPr>
          <p:nvPr>
            <p:ph type="body" sz="quarter" idx="10"/>
          </p:nvPr>
        </p:nvSpPr>
        <p:spPr>
          <a:xfrm>
            <a:off x="393701" y="1211041"/>
            <a:ext cx="11462940" cy="4896073"/>
          </a:xfrm>
        </p:spPr>
        <p:txBody>
          <a:bodyPr>
            <a:normAutofit fontScale="25000" lnSpcReduction="20000"/>
          </a:bodyPr>
          <a:lstStyle/>
          <a:p>
            <a:pPr marL="0" marR="0">
              <a:spcBef>
                <a:spcPts val="0"/>
              </a:spcBef>
              <a:spcAft>
                <a:spcPts val="0"/>
              </a:spcAft>
            </a:pPr>
            <a:r>
              <a:rPr lang="en-US" sz="8000" b="0" dirty="0">
                <a:latin typeface="+mn-lt"/>
                <a:ea typeface="+mn-lt"/>
                <a:cs typeface="+mn-lt"/>
              </a:rPr>
              <a:t>A poll was done in the monthly security forum.</a:t>
            </a:r>
          </a:p>
          <a:p>
            <a:pPr marL="0" marR="0">
              <a:spcBef>
                <a:spcPts val="0"/>
              </a:spcBef>
              <a:spcAft>
                <a:spcPts val="0"/>
              </a:spcAft>
            </a:pPr>
            <a:endParaRPr lang="en-US" sz="8000" b="0" dirty="0">
              <a:latin typeface="+mn-lt"/>
              <a:ea typeface="+mn-lt"/>
              <a:cs typeface="+mn-lt"/>
            </a:endParaRPr>
          </a:p>
          <a:p>
            <a:pPr marL="0" marR="0">
              <a:spcBef>
                <a:spcPts val="0"/>
              </a:spcBef>
              <a:spcAft>
                <a:spcPts val="0"/>
              </a:spcAft>
            </a:pPr>
            <a:r>
              <a:rPr lang="en-US" sz="8000" b="0" dirty="0">
                <a:latin typeface="+mn-lt"/>
                <a:ea typeface="+mn-lt"/>
                <a:cs typeface="+mn-lt"/>
              </a:rPr>
              <a:t>29 answered the poll out of  38 participants. </a:t>
            </a:r>
          </a:p>
          <a:p>
            <a:pPr marL="0" marR="0">
              <a:spcBef>
                <a:spcPts val="0"/>
              </a:spcBef>
              <a:spcAft>
                <a:spcPts val="0"/>
              </a:spcAft>
            </a:pPr>
            <a:endParaRPr lang="en-US" sz="8000" b="0" dirty="0">
              <a:latin typeface="+mn-lt"/>
              <a:ea typeface="+mn-lt"/>
              <a:cs typeface="+mn-lt"/>
            </a:endParaRPr>
          </a:p>
          <a:p>
            <a:pPr marL="0" marR="0">
              <a:spcBef>
                <a:spcPts val="0"/>
              </a:spcBef>
              <a:spcAft>
                <a:spcPts val="0"/>
              </a:spcAft>
            </a:pPr>
            <a:r>
              <a:rPr lang="en-US" sz="8000" b="0" dirty="0">
                <a:latin typeface="+mn-lt"/>
                <a:ea typeface="+mn-lt"/>
                <a:cs typeface="+mn-lt"/>
              </a:rPr>
              <a:t>The question posed to all attendees was as follows: ​</a:t>
            </a:r>
          </a:p>
          <a:p>
            <a:pPr marL="0" marR="0">
              <a:spcBef>
                <a:spcPts val="0"/>
              </a:spcBef>
              <a:spcAft>
                <a:spcPts val="0"/>
              </a:spcAft>
            </a:pPr>
            <a:r>
              <a:rPr lang="en-US" sz="8000" b="0" dirty="0">
                <a:latin typeface="+mn-lt"/>
                <a:ea typeface="+mn-lt"/>
                <a:cs typeface="+mn-lt"/>
              </a:rPr>
              <a:t>​</a:t>
            </a:r>
          </a:p>
          <a:p>
            <a:pPr marL="0" lvl="1" indent="0">
              <a:spcBef>
                <a:spcPts val="0"/>
              </a:spcBef>
              <a:buNone/>
            </a:pPr>
            <a:r>
              <a:rPr lang="en-US" sz="8000" b="1" dirty="0">
                <a:latin typeface="+mn-lt"/>
                <a:ea typeface="+mn-lt"/>
                <a:cs typeface="+mn-lt"/>
              </a:rPr>
              <a:t>What is Spear Phishing? </a:t>
            </a:r>
            <a:r>
              <a:rPr lang="en-US" sz="8000" b="0" dirty="0">
                <a:latin typeface="+mn-lt"/>
                <a:ea typeface="+mn-lt"/>
                <a:cs typeface="+mn-lt"/>
              </a:rPr>
              <a:t>​</a:t>
            </a:r>
          </a:p>
          <a:p>
            <a:pPr marL="0" lvl="1" indent="0">
              <a:spcBef>
                <a:spcPts val="0"/>
              </a:spcBef>
              <a:buNone/>
            </a:pPr>
            <a:r>
              <a:rPr lang="en-US" sz="8000" b="0" dirty="0">
                <a:latin typeface="+mn-lt"/>
                <a:ea typeface="+mn-lt"/>
                <a:cs typeface="+mn-lt"/>
              </a:rPr>
              <a:t>​</a:t>
            </a:r>
          </a:p>
          <a:p>
            <a:pPr marL="180000" lvl="2" indent="0">
              <a:spcBef>
                <a:spcPts val="0"/>
              </a:spcBef>
              <a:buNone/>
            </a:pPr>
            <a:r>
              <a:rPr lang="en-US" sz="8000" b="1" dirty="0">
                <a:latin typeface="+mn-lt"/>
                <a:ea typeface="+mn-lt"/>
                <a:cs typeface="+mn-lt"/>
              </a:rPr>
              <a:t>Option 1</a:t>
            </a:r>
            <a:r>
              <a:rPr lang="en-US" sz="8000" b="0" dirty="0">
                <a:latin typeface="+mn-lt"/>
                <a:ea typeface="+mn-lt"/>
                <a:cs typeface="+mn-lt"/>
              </a:rPr>
              <a:t>: A targeted type of phishing attack that goes after executives in an organisation as well as employees in crucial positions (e.g., Finance)​</a:t>
            </a:r>
          </a:p>
          <a:p>
            <a:pPr marL="180000" lvl="2" indent="0">
              <a:spcBef>
                <a:spcPts val="0"/>
              </a:spcBef>
              <a:buNone/>
            </a:pPr>
            <a:r>
              <a:rPr lang="en-US" sz="8000" b="0" dirty="0">
                <a:latin typeface="+mn-lt"/>
                <a:ea typeface="+mn-lt"/>
                <a:cs typeface="+mn-lt"/>
              </a:rPr>
              <a:t>​</a:t>
            </a:r>
          </a:p>
          <a:p>
            <a:pPr marL="180000" lvl="2" indent="0">
              <a:spcBef>
                <a:spcPts val="0"/>
              </a:spcBef>
              <a:buNone/>
            </a:pPr>
            <a:r>
              <a:rPr lang="en-US" sz="8000" b="1" dirty="0">
                <a:latin typeface="+mn-lt"/>
                <a:ea typeface="+mn-lt"/>
                <a:cs typeface="+mn-lt"/>
              </a:rPr>
              <a:t>Option 2</a:t>
            </a:r>
            <a:r>
              <a:rPr lang="en-US" sz="8000" b="0" dirty="0">
                <a:latin typeface="+mn-lt"/>
                <a:ea typeface="+mn-lt"/>
                <a:cs typeface="+mn-lt"/>
              </a:rPr>
              <a:t>: A phishing attack that uses text messaging or short messaging service (SMS) to execute the attack​</a:t>
            </a:r>
          </a:p>
          <a:p>
            <a:pPr marL="180000" lvl="2" indent="0">
              <a:spcBef>
                <a:spcPts val="0"/>
              </a:spcBef>
              <a:buNone/>
            </a:pPr>
            <a:r>
              <a:rPr lang="en-US" sz="8000" b="0" dirty="0">
                <a:latin typeface="+mn-lt"/>
                <a:ea typeface="+mn-lt"/>
                <a:cs typeface="+mn-lt"/>
              </a:rPr>
              <a:t>​</a:t>
            </a:r>
          </a:p>
          <a:p>
            <a:pPr marL="180000" lvl="2" indent="0">
              <a:spcBef>
                <a:spcPts val="0"/>
              </a:spcBef>
              <a:buNone/>
            </a:pPr>
            <a:r>
              <a:rPr lang="en-US" sz="8000" b="1" dirty="0">
                <a:latin typeface="+mn-lt"/>
                <a:ea typeface="+mn-lt"/>
                <a:cs typeface="+mn-lt"/>
              </a:rPr>
              <a:t>Option 3: </a:t>
            </a:r>
            <a:r>
              <a:rPr lang="en-US" sz="8000" b="0" dirty="0">
                <a:latin typeface="+mn-lt"/>
                <a:ea typeface="+mn-lt"/>
                <a:cs typeface="+mn-lt"/>
              </a:rPr>
              <a:t>A phishing attack that uses prior research to target specific individuals and groups to persuade users to share personal information</a:t>
            </a:r>
          </a:p>
          <a:p>
            <a:pPr marL="0" lvl="1" indent="0">
              <a:spcBef>
                <a:spcPts val="0"/>
              </a:spcBef>
              <a:buNone/>
            </a:pPr>
            <a:endParaRPr lang="en-US" sz="8000" b="0" dirty="0">
              <a:latin typeface="+mn-lt"/>
              <a:ea typeface="+mn-lt"/>
              <a:cs typeface="+mn-lt"/>
            </a:endParaRPr>
          </a:p>
          <a:p>
            <a:pPr marL="0" marR="0">
              <a:spcBef>
                <a:spcPts val="0"/>
              </a:spcBef>
              <a:spcAft>
                <a:spcPts val="0"/>
              </a:spcAft>
            </a:pPr>
            <a:r>
              <a:rPr lang="en-US" sz="8000" b="0" dirty="0">
                <a:latin typeface="+mn-lt"/>
                <a:ea typeface="+mn-lt"/>
                <a:cs typeface="+mn-lt"/>
              </a:rPr>
              <a:t> </a:t>
            </a:r>
          </a:p>
          <a:p>
            <a:pPr marL="0" marR="0">
              <a:spcBef>
                <a:spcPts val="0"/>
              </a:spcBef>
              <a:spcAft>
                <a:spcPts val="0"/>
              </a:spcAft>
            </a:pPr>
            <a:r>
              <a:rPr lang="en-US" sz="8000" dirty="0">
                <a:latin typeface="+mn-lt"/>
                <a:ea typeface="+mn-lt"/>
                <a:cs typeface="+mn-lt"/>
              </a:rPr>
              <a:t>Of the 29 participants, 72% answered the question correctly and 28% answered the question incorrectly.  </a:t>
            </a:r>
            <a:br>
              <a:rPr lang="en-US" sz="8000" dirty="0">
                <a:latin typeface="+mn-lt"/>
                <a:ea typeface="+mn-lt"/>
                <a:cs typeface="+mn-lt"/>
              </a:rPr>
            </a:br>
            <a:endParaRPr lang="en-US" sz="8000" dirty="0">
              <a:latin typeface="+mn-lt"/>
              <a:ea typeface="+mn-lt"/>
              <a:cs typeface="+mn-lt"/>
            </a:endParaRPr>
          </a:p>
          <a:p>
            <a:pPr marL="0" marR="0">
              <a:spcBef>
                <a:spcPts val="0"/>
              </a:spcBef>
              <a:spcAft>
                <a:spcPts val="0"/>
              </a:spcAft>
            </a:pPr>
            <a:r>
              <a:rPr lang="en-US" sz="1900" b="0" dirty="0">
                <a:latin typeface="+mn-lt"/>
                <a:ea typeface="+mn-lt"/>
                <a:cs typeface="+mn-lt"/>
              </a:rPr>
              <a:t/>
            </a:r>
            <a:br>
              <a:rPr lang="en-US" sz="1900" b="0" dirty="0">
                <a:latin typeface="+mn-lt"/>
                <a:ea typeface="+mn-lt"/>
                <a:cs typeface="+mn-lt"/>
              </a:rPr>
            </a:br>
            <a:endParaRPr lang="en-US" sz="1900" b="0" dirty="0">
              <a:latin typeface="+mn-lt"/>
              <a:ea typeface="+mn-lt"/>
              <a:cs typeface="+mn-lt"/>
            </a:endParaRPr>
          </a:p>
          <a:p>
            <a:endParaRPr lang="en-US" dirty="0"/>
          </a:p>
        </p:txBody>
      </p:sp>
    </p:spTree>
    <p:extLst>
      <p:ext uri="{BB962C8B-B14F-4D97-AF65-F5344CB8AC3E}">
        <p14:creationId xmlns:p14="http://schemas.microsoft.com/office/powerpoint/2010/main" xmlns="" val="2889865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20365E-D52E-47CE-8C5A-8740326D445F}"/>
              </a:ext>
            </a:extLst>
          </p:cNvPr>
          <p:cNvSpPr>
            <a:spLocks noGrp="1"/>
          </p:cNvSpPr>
          <p:nvPr>
            <p:ph type="title"/>
          </p:nvPr>
        </p:nvSpPr>
        <p:spPr/>
        <p:txBody>
          <a:bodyPr/>
          <a:lstStyle/>
          <a:p>
            <a:r>
              <a:rPr lang="en-US" dirty="0"/>
              <a:t>Overall Phish-prone for the last three tests</a:t>
            </a:r>
            <a:endParaRPr lang="en-ZA" dirty="0"/>
          </a:p>
        </p:txBody>
      </p:sp>
      <p:sp>
        <p:nvSpPr>
          <p:cNvPr id="3" name="Slide Number Placeholder 2">
            <a:extLst>
              <a:ext uri="{FF2B5EF4-FFF2-40B4-BE49-F238E27FC236}">
                <a16:creationId xmlns:a16="http://schemas.microsoft.com/office/drawing/2014/main" xmlns="" id="{175A657B-3C61-4CF5-81EF-3CC7832F2953}"/>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pic>
        <p:nvPicPr>
          <p:cNvPr id="6" name="Picture 5" descr="Graphical user interface, application, email&#10;&#10;Description automatically generated">
            <a:extLst>
              <a:ext uri="{FF2B5EF4-FFF2-40B4-BE49-F238E27FC236}">
                <a16:creationId xmlns:a16="http://schemas.microsoft.com/office/drawing/2014/main" xmlns="" id="{B5BA2283-DCBB-471D-B563-F464F4FB176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235584" y="2292971"/>
            <a:ext cx="3735168" cy="3745964"/>
          </a:xfrm>
          <a:prstGeom prst="rect">
            <a:avLst/>
          </a:prstGeom>
          <a:ln>
            <a:solidFill>
              <a:schemeClr val="tx2"/>
            </a:solidFill>
          </a:ln>
        </p:spPr>
      </p:pic>
      <p:sp>
        <p:nvSpPr>
          <p:cNvPr id="8" name="TextBox 7">
            <a:extLst>
              <a:ext uri="{FF2B5EF4-FFF2-40B4-BE49-F238E27FC236}">
                <a16:creationId xmlns:a16="http://schemas.microsoft.com/office/drawing/2014/main" xmlns="" id="{04DB6AE0-C0D0-4F4E-BAEE-91BC9512767C}"/>
              </a:ext>
            </a:extLst>
          </p:cNvPr>
          <p:cNvSpPr txBox="1"/>
          <p:nvPr/>
        </p:nvSpPr>
        <p:spPr>
          <a:xfrm>
            <a:off x="393701" y="1902954"/>
            <a:ext cx="3181718" cy="31779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22527B"/>
                </a:solidFill>
                <a:effectLst/>
                <a:uLnTx/>
                <a:uFillTx/>
                <a:latin typeface="Helvetica Neue Light"/>
                <a:ea typeface="+mn-ea"/>
                <a:cs typeface="+mn-cs"/>
              </a:rPr>
              <a:t>Baseline Phish test</a:t>
            </a:r>
            <a:endParaRPr kumimoji="0" lang="en-ZA" sz="1400" b="0" i="1" u="none" strike="noStrike" kern="1200" cap="none" spc="0" normalizeH="0" baseline="0" noProof="0" dirty="0">
              <a:ln>
                <a:noFill/>
              </a:ln>
              <a:solidFill>
                <a:srgbClr val="22527B"/>
              </a:solidFill>
              <a:effectLst/>
              <a:uLnTx/>
              <a:uFillTx/>
              <a:latin typeface="Helvetica Neue Light"/>
              <a:ea typeface="+mn-ea"/>
              <a:cs typeface="+mn-cs"/>
            </a:endParaRPr>
          </a:p>
        </p:txBody>
      </p:sp>
      <p:pic>
        <p:nvPicPr>
          <p:cNvPr id="10" name="Picture 9" descr="Graphical user interface, application&#10;&#10;Description automatically generated">
            <a:extLst>
              <a:ext uri="{FF2B5EF4-FFF2-40B4-BE49-F238E27FC236}">
                <a16:creationId xmlns:a16="http://schemas.microsoft.com/office/drawing/2014/main" xmlns="" id="{29159232-4FFA-48AC-B6D3-DEF05E21036E}"/>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4187755" y="1918585"/>
            <a:ext cx="3756667" cy="3745964"/>
          </a:xfrm>
          <a:prstGeom prst="rect">
            <a:avLst/>
          </a:prstGeom>
          <a:ln>
            <a:solidFill>
              <a:schemeClr val="tx2"/>
            </a:solidFill>
          </a:ln>
        </p:spPr>
      </p:pic>
      <p:pic>
        <p:nvPicPr>
          <p:cNvPr id="12" name="Picture 11" descr="Graphical user interface, application&#10;&#10;Description automatically generated">
            <a:extLst>
              <a:ext uri="{FF2B5EF4-FFF2-40B4-BE49-F238E27FC236}">
                <a16:creationId xmlns:a16="http://schemas.microsoft.com/office/drawing/2014/main" xmlns="" id="{E1FB1525-D91E-49B8-B620-F455F19A15D1}"/>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8149822" y="1526802"/>
            <a:ext cx="3735291" cy="3745964"/>
          </a:xfrm>
          <a:prstGeom prst="rect">
            <a:avLst/>
          </a:prstGeom>
          <a:ln>
            <a:solidFill>
              <a:schemeClr val="tx2"/>
            </a:solidFill>
          </a:ln>
        </p:spPr>
      </p:pic>
      <p:sp>
        <p:nvSpPr>
          <p:cNvPr id="13" name="TextBox 12">
            <a:extLst>
              <a:ext uri="{FF2B5EF4-FFF2-40B4-BE49-F238E27FC236}">
                <a16:creationId xmlns:a16="http://schemas.microsoft.com/office/drawing/2014/main" xmlns="" id="{00EA4216-64D1-49D2-868A-01DF0FF88D2E}"/>
              </a:ext>
            </a:extLst>
          </p:cNvPr>
          <p:cNvSpPr txBox="1"/>
          <p:nvPr/>
        </p:nvSpPr>
        <p:spPr>
          <a:xfrm>
            <a:off x="4111553" y="1540279"/>
            <a:ext cx="318171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22527B"/>
                </a:solidFill>
                <a:effectLst/>
                <a:uLnTx/>
                <a:uFillTx/>
                <a:latin typeface="Helvetica Neue Light"/>
                <a:ea typeface="+mn-ea"/>
                <a:cs typeface="+mn-cs"/>
              </a:rPr>
              <a:t>Phishing Test January 2021 </a:t>
            </a:r>
            <a:endParaRPr kumimoji="0" lang="en-ZA" sz="1400" b="0" i="1" u="none" strike="noStrike" kern="1200" cap="none" spc="0" normalizeH="0" baseline="0" noProof="0" dirty="0">
              <a:ln>
                <a:noFill/>
              </a:ln>
              <a:solidFill>
                <a:srgbClr val="22527B"/>
              </a:solidFill>
              <a:effectLst/>
              <a:uLnTx/>
              <a:uFillTx/>
              <a:latin typeface="Helvetica Neue Light"/>
              <a:ea typeface="+mn-ea"/>
              <a:cs typeface="+mn-cs"/>
            </a:endParaRPr>
          </a:p>
        </p:txBody>
      </p:sp>
      <p:sp>
        <p:nvSpPr>
          <p:cNvPr id="14" name="TextBox 13">
            <a:extLst>
              <a:ext uri="{FF2B5EF4-FFF2-40B4-BE49-F238E27FC236}">
                <a16:creationId xmlns:a16="http://schemas.microsoft.com/office/drawing/2014/main" xmlns="" id="{D6CED9E5-8431-4F6D-914C-4C5B30B8468D}"/>
              </a:ext>
            </a:extLst>
          </p:cNvPr>
          <p:cNvSpPr txBox="1"/>
          <p:nvPr/>
        </p:nvSpPr>
        <p:spPr>
          <a:xfrm>
            <a:off x="8149822" y="1099779"/>
            <a:ext cx="3181718" cy="31779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1" u="none" strike="noStrike" kern="1200" cap="none" spc="0" normalizeH="0" baseline="0" noProof="0" dirty="0">
                <a:ln>
                  <a:noFill/>
                </a:ln>
                <a:solidFill>
                  <a:srgbClr val="22527B"/>
                </a:solidFill>
                <a:effectLst/>
                <a:uLnTx/>
                <a:uFillTx/>
                <a:latin typeface="Helvetica Neue Light"/>
                <a:ea typeface="+mn-ea"/>
                <a:cs typeface="+mn-cs"/>
              </a:rPr>
              <a:t>Phishing Test August 2021</a:t>
            </a:r>
            <a:endParaRPr kumimoji="0" lang="en-ZA" sz="14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5" name="TextBox 4">
            <a:extLst>
              <a:ext uri="{FF2B5EF4-FFF2-40B4-BE49-F238E27FC236}">
                <a16:creationId xmlns:a16="http://schemas.microsoft.com/office/drawing/2014/main" xmlns="" id="{B7EECD9C-7182-467F-A058-938CE3D9F0B8}"/>
              </a:ext>
            </a:extLst>
          </p:cNvPr>
          <p:cNvSpPr txBox="1"/>
          <p:nvPr/>
        </p:nvSpPr>
        <p:spPr>
          <a:xfrm>
            <a:off x="5069498" y="5920836"/>
            <a:ext cx="637138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entury Gothic"/>
                <a:ea typeface="+mn-ea"/>
                <a:cs typeface="+mn-cs"/>
              </a:rPr>
              <a:t>The failures refer to the users that clicked on the simulated phishing email.</a:t>
            </a:r>
          </a:p>
        </p:txBody>
      </p:sp>
    </p:spTree>
    <p:extLst>
      <p:ext uri="{BB962C8B-B14F-4D97-AF65-F5344CB8AC3E}">
        <p14:creationId xmlns:p14="http://schemas.microsoft.com/office/powerpoint/2010/main" xmlns="" val="32227323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ED849DB5-DCA3-441E-873E-D4788CE9DD02}"/>
              </a:ext>
            </a:extLst>
          </p:cNvPr>
          <p:cNvSpPr>
            <a:spLocks noGrp="1"/>
          </p:cNvSpPr>
          <p:nvPr>
            <p:ph type="body" sz="quarter" idx="12"/>
          </p:nvPr>
        </p:nvSpPr>
        <p:spPr/>
        <p:txBody>
          <a:bodyPr/>
          <a:lstStyle/>
          <a:p>
            <a:r>
              <a:rPr lang="en-US" dirty="0"/>
              <a:t>Working  From Home/ Endpoint Risk areas</a:t>
            </a:r>
          </a:p>
        </p:txBody>
      </p:sp>
    </p:spTree>
    <p:extLst>
      <p:ext uri="{BB962C8B-B14F-4D97-AF65-F5344CB8AC3E}">
        <p14:creationId xmlns:p14="http://schemas.microsoft.com/office/powerpoint/2010/main" xmlns="" val="9542316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C2BA010-3D16-41D5-857B-999BFADB490A}"/>
              </a:ext>
            </a:extLst>
          </p:cNvPr>
          <p:cNvSpPr>
            <a:spLocks noGrp="1"/>
          </p:cNvSpPr>
          <p:nvPr>
            <p:ph type="title"/>
          </p:nvPr>
        </p:nvSpPr>
        <p:spPr/>
        <p:txBody>
          <a:bodyPr/>
          <a:lstStyle/>
          <a:p>
            <a:r>
              <a:rPr lang="en-US" dirty="0"/>
              <a:t>Key WFH/Endpoint risk areas and mitigation actions</a:t>
            </a:r>
          </a:p>
        </p:txBody>
      </p:sp>
      <p:sp>
        <p:nvSpPr>
          <p:cNvPr id="3" name="Slide Number Placeholder 2">
            <a:extLst>
              <a:ext uri="{FF2B5EF4-FFF2-40B4-BE49-F238E27FC236}">
                <a16:creationId xmlns:a16="http://schemas.microsoft.com/office/drawing/2014/main" xmlns="" id="{8770F3F8-261E-45FC-AF4D-5BC8524E9F1B}"/>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graphicFrame>
        <p:nvGraphicFramePr>
          <p:cNvPr id="7" name="Table 7">
            <a:extLst>
              <a:ext uri="{FF2B5EF4-FFF2-40B4-BE49-F238E27FC236}">
                <a16:creationId xmlns:a16="http://schemas.microsoft.com/office/drawing/2014/main" xmlns="" id="{2989DDCF-C495-4F14-BDFC-F3EFED9861C7}"/>
              </a:ext>
            </a:extLst>
          </p:cNvPr>
          <p:cNvGraphicFramePr>
            <a:graphicFrameLocks noGrp="1"/>
          </p:cNvGraphicFramePr>
          <p:nvPr>
            <p:extLst>
              <p:ext uri="{D42A27DB-BD31-4B8C-83A1-F6EECF244321}">
                <p14:modId xmlns:p14="http://schemas.microsoft.com/office/powerpoint/2010/main" xmlns="" val="1358346752"/>
              </p:ext>
            </p:extLst>
          </p:nvPr>
        </p:nvGraphicFramePr>
        <p:xfrm>
          <a:off x="322290" y="1124745"/>
          <a:ext cx="11336310" cy="5428456"/>
        </p:xfrm>
        <a:graphic>
          <a:graphicData uri="http://schemas.openxmlformats.org/drawingml/2006/table">
            <a:tbl>
              <a:tblPr firstRow="1" bandRow="1">
                <a:tableStyleId>{073A0DAA-6AF3-43AB-8588-CEC1D06C72B9}</a:tableStyleId>
              </a:tblPr>
              <a:tblGrid>
                <a:gridCol w="2483114">
                  <a:extLst>
                    <a:ext uri="{9D8B030D-6E8A-4147-A177-3AD203B41FA5}">
                      <a16:colId xmlns:a16="http://schemas.microsoft.com/office/drawing/2014/main" xmlns="" val="4286519229"/>
                    </a:ext>
                  </a:extLst>
                </a:gridCol>
                <a:gridCol w="8853196">
                  <a:extLst>
                    <a:ext uri="{9D8B030D-6E8A-4147-A177-3AD203B41FA5}">
                      <a16:colId xmlns:a16="http://schemas.microsoft.com/office/drawing/2014/main" xmlns="" val="2020221822"/>
                    </a:ext>
                  </a:extLst>
                </a:gridCol>
              </a:tblGrid>
              <a:tr h="435615">
                <a:tc>
                  <a:txBody>
                    <a:bodyPr/>
                    <a:lstStyle/>
                    <a:p>
                      <a:r>
                        <a:rPr lang="en-US" sz="1600" dirty="0"/>
                        <a:t>Key risk areas</a:t>
                      </a:r>
                    </a:p>
                  </a:txBody>
                  <a:tcPr>
                    <a:solidFill>
                      <a:schemeClr val="tx2"/>
                    </a:solidFill>
                  </a:tcPr>
                </a:tc>
                <a:tc>
                  <a:txBody>
                    <a:bodyPr/>
                    <a:lstStyle/>
                    <a:p>
                      <a:r>
                        <a:rPr lang="en-US" sz="1600" dirty="0"/>
                        <a:t>Controls/ Mitigating actions</a:t>
                      </a:r>
                    </a:p>
                  </a:txBody>
                  <a:tcPr>
                    <a:solidFill>
                      <a:schemeClr val="tx2"/>
                    </a:solidFill>
                  </a:tcPr>
                </a:tc>
                <a:extLst>
                  <a:ext uri="{0D108BD9-81ED-4DB2-BD59-A6C34878D82A}">
                    <a16:rowId xmlns:a16="http://schemas.microsoft.com/office/drawing/2014/main" xmlns="" val="1161632083"/>
                  </a:ext>
                </a:extLst>
              </a:tr>
              <a:tr h="959161">
                <a:tc>
                  <a:txBody>
                    <a:bodyPr/>
                    <a:lstStyle/>
                    <a:p>
                      <a:r>
                        <a:rPr lang="en-US" sz="1400" dirty="0">
                          <a:solidFill>
                            <a:schemeClr val="tx2"/>
                          </a:solidFill>
                        </a:rPr>
                        <a:t>Unmanaged endpoint devices </a:t>
                      </a:r>
                    </a:p>
                  </a:txBody>
                  <a:tcPr>
                    <a:solidFill>
                      <a:schemeClr val="accent2">
                        <a:lumMod val="60000"/>
                        <a:lumOff val="40000"/>
                      </a:schemeClr>
                    </a:solidFill>
                  </a:tcPr>
                </a:tc>
                <a:tc>
                  <a:txBody>
                    <a:bodyPr/>
                    <a:lstStyle/>
                    <a:p>
                      <a:pPr marL="285750" indent="-285750">
                        <a:buFont typeface="Arial" panose="020B0604020202020204" pitchFamily="34" charset="0"/>
                        <a:buChar char="•"/>
                      </a:pPr>
                      <a:r>
                        <a:rPr lang="en-US" sz="1400" dirty="0">
                          <a:solidFill>
                            <a:schemeClr val="tx2"/>
                          </a:solidFill>
                        </a:rPr>
                        <a:t>Monitor state of endpoints on security dashboards</a:t>
                      </a:r>
                    </a:p>
                    <a:p>
                      <a:pPr marL="285750" indent="-285750">
                        <a:buFont typeface="Arial" panose="020B0604020202020204" pitchFamily="34" charset="0"/>
                        <a:buChar char="•"/>
                      </a:pPr>
                      <a:r>
                        <a:rPr lang="en-US" sz="1400" dirty="0">
                          <a:solidFill>
                            <a:schemeClr val="tx2"/>
                          </a:solidFill>
                        </a:rPr>
                        <a:t>Log calls for troubleshooting of endpoint devices that are active on the network </a:t>
                      </a:r>
                    </a:p>
                    <a:p>
                      <a:pPr marL="285750" indent="-285750">
                        <a:buFont typeface="Arial" panose="020B0604020202020204" pitchFamily="34" charset="0"/>
                        <a:buChar char="•"/>
                      </a:pPr>
                      <a:r>
                        <a:rPr lang="en-US" sz="1400" dirty="0">
                          <a:solidFill>
                            <a:schemeClr val="tx2"/>
                          </a:solidFill>
                        </a:rPr>
                        <a:t>Corporate Communication requesting users to bring their devices to work as they return to the office </a:t>
                      </a:r>
                    </a:p>
                  </a:txBody>
                  <a:tcPr/>
                </a:tc>
                <a:extLst>
                  <a:ext uri="{0D108BD9-81ED-4DB2-BD59-A6C34878D82A}">
                    <a16:rowId xmlns:a16="http://schemas.microsoft.com/office/drawing/2014/main" xmlns="" val="2020101357"/>
                  </a:ext>
                </a:extLst>
              </a:tr>
              <a:tr h="959161">
                <a:tc>
                  <a:txBody>
                    <a:bodyPr/>
                    <a:lstStyle/>
                    <a:p>
                      <a:r>
                        <a:rPr lang="en-US" sz="1400" dirty="0">
                          <a:solidFill>
                            <a:schemeClr val="tx2"/>
                          </a:solidFill>
                        </a:rPr>
                        <a:t>Managed devices not receiving updates</a:t>
                      </a:r>
                    </a:p>
                  </a:txBody>
                  <a:tcPr>
                    <a:solidFill>
                      <a:schemeClr val="accent2">
                        <a:lumMod val="60000"/>
                        <a:lumOff val="40000"/>
                      </a:schemeClr>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2"/>
                          </a:solidFill>
                        </a:rPr>
                        <a:t>Monitor state of endpoints on security dashboards</a:t>
                      </a:r>
                    </a:p>
                    <a:p>
                      <a:pPr marL="285750" indent="-285750">
                        <a:buFont typeface="Arial" panose="020B0604020202020204" pitchFamily="34" charset="0"/>
                        <a:buChar char="•"/>
                      </a:pPr>
                      <a:r>
                        <a:rPr lang="en-US" sz="1400" dirty="0">
                          <a:solidFill>
                            <a:schemeClr val="tx2"/>
                          </a:solidFill>
                        </a:rPr>
                        <a:t>Implement MS Intune (Co-management) for Windows 10 computers that meet the requir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2"/>
                          </a:solidFill>
                        </a:rPr>
                        <a:t>Corporate Communication –encourage  users to bring their devices to work as they return to the office </a:t>
                      </a:r>
                    </a:p>
                  </a:txBody>
                  <a:tcPr/>
                </a:tc>
                <a:extLst>
                  <a:ext uri="{0D108BD9-81ED-4DB2-BD59-A6C34878D82A}">
                    <a16:rowId xmlns:a16="http://schemas.microsoft.com/office/drawing/2014/main" xmlns="" val="3128932111"/>
                  </a:ext>
                </a:extLst>
              </a:tr>
              <a:tr h="5259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Risk of laptop/desktop theft</a:t>
                      </a:r>
                    </a:p>
                  </a:txBody>
                  <a:tcPr>
                    <a:solidFill>
                      <a:schemeClr val="accent2">
                        <a:lumMod val="60000"/>
                        <a:lumOff val="40000"/>
                      </a:schemeClr>
                    </a:solidFill>
                  </a:tcPr>
                </a:tc>
                <a:tc>
                  <a:txBody>
                    <a:bodyPr/>
                    <a:lstStyle/>
                    <a:p>
                      <a:pPr marL="285750" indent="-285750" algn="l" defTabSz="914400" rtl="0" eaLnBrk="1" latinLnBrk="0" hangingPunct="1">
                        <a:buFont typeface="Arial" panose="020B0604020202020204" pitchFamily="34" charset="0"/>
                        <a:buChar char="•"/>
                      </a:pPr>
                      <a:r>
                        <a:rPr lang="en-US" sz="1400" kern="1200" dirty="0">
                          <a:solidFill>
                            <a:schemeClr val="tx2"/>
                          </a:solidFill>
                        </a:rPr>
                        <a:t>Implement MS Bitlocker to encrypt files</a:t>
                      </a:r>
                    </a:p>
                    <a:p>
                      <a:pPr marL="285750" indent="-285750" algn="l" defTabSz="914400" rtl="0" eaLnBrk="1" latinLnBrk="0" hangingPunct="1">
                        <a:buFont typeface="Arial" panose="020B0604020202020204" pitchFamily="34" charset="0"/>
                        <a:buChar char="•"/>
                      </a:pPr>
                      <a:r>
                        <a:rPr lang="en-US" sz="1400" kern="1200" dirty="0">
                          <a:solidFill>
                            <a:schemeClr val="tx2"/>
                          </a:solidFill>
                        </a:rPr>
                        <a:t>Encourage the use of OneDrive for Business for information protection and encryption</a:t>
                      </a:r>
                      <a:endParaRPr lang="en-US" sz="1400" kern="1200" dirty="0">
                        <a:solidFill>
                          <a:schemeClr val="tx2"/>
                        </a:solidFill>
                        <a:latin typeface="+mn-lt"/>
                        <a:ea typeface="+mn-ea"/>
                        <a:cs typeface="+mn-cs"/>
                      </a:endParaRPr>
                    </a:p>
                  </a:txBody>
                  <a:tcPr/>
                </a:tc>
                <a:extLst>
                  <a:ext uri="{0D108BD9-81ED-4DB2-BD59-A6C34878D82A}">
                    <a16:rowId xmlns:a16="http://schemas.microsoft.com/office/drawing/2014/main" xmlns="" val="2244548205"/>
                  </a:ext>
                </a:extLst>
              </a:tr>
              <a:tr h="13923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Potential cases of accounts being compromised</a:t>
                      </a:r>
                      <a:endParaRPr lang="en-US" sz="1400" b="0" dirty="0">
                        <a:solidFill>
                          <a:schemeClr val="tx2"/>
                        </a:solidFill>
                      </a:endParaRPr>
                    </a:p>
                  </a:txBody>
                  <a:tcPr>
                    <a:solidFill>
                      <a:schemeClr val="accent2">
                        <a:lumMod val="60000"/>
                        <a:lumOff val="40000"/>
                      </a:schemeClr>
                    </a:solidFill>
                  </a:tcPr>
                </a:tc>
                <a:tc>
                  <a:txBody>
                    <a:bodyPr/>
                    <a:lstStyle/>
                    <a:p>
                      <a:pPr marL="285750" indent="-285750">
                        <a:buFont typeface="Arial" panose="020B0604020202020204" pitchFamily="34" charset="0"/>
                        <a:buChar char="•"/>
                      </a:pPr>
                      <a:r>
                        <a:rPr lang="en-US" sz="1400" dirty="0">
                          <a:solidFill>
                            <a:schemeClr val="tx2"/>
                          </a:solidFill>
                        </a:rPr>
                        <a:t>Monitor alerts on Azure Security Centre</a:t>
                      </a:r>
                    </a:p>
                    <a:p>
                      <a:pPr marL="285750" indent="-285750">
                        <a:buFont typeface="Arial" panose="020B0604020202020204" pitchFamily="34" charset="0"/>
                        <a:buChar char="•"/>
                      </a:pPr>
                      <a:r>
                        <a:rPr lang="en-US" sz="1400" dirty="0">
                          <a:solidFill>
                            <a:schemeClr val="tx2"/>
                          </a:solidFill>
                        </a:rPr>
                        <a:t>Remediate risks and prevent incidents on the  Cloud Application Security Portal</a:t>
                      </a:r>
                    </a:p>
                    <a:p>
                      <a:pPr marL="285750" indent="-285750">
                        <a:buFont typeface="Arial" panose="020B0604020202020204" pitchFamily="34" charset="0"/>
                        <a:buChar char="•"/>
                      </a:pPr>
                      <a:r>
                        <a:rPr lang="en-US" sz="1400" dirty="0">
                          <a:solidFill>
                            <a:schemeClr val="tx2"/>
                          </a:solidFill>
                        </a:rPr>
                        <a:t>Perform Azure AD Identity Protection</a:t>
                      </a:r>
                    </a:p>
                    <a:p>
                      <a:pPr marL="285750" indent="-285750">
                        <a:buFont typeface="Arial" panose="020B0604020202020204" pitchFamily="34" charset="0"/>
                        <a:buChar char="•"/>
                      </a:pPr>
                      <a:r>
                        <a:rPr lang="en-US" sz="1400" dirty="0">
                          <a:solidFill>
                            <a:schemeClr val="tx2"/>
                          </a:solidFill>
                        </a:rPr>
                        <a:t>Multifactor Authentication for 2</a:t>
                      </a:r>
                      <a:r>
                        <a:rPr lang="en-US" sz="1400" baseline="30000" dirty="0">
                          <a:solidFill>
                            <a:schemeClr val="tx2"/>
                          </a:solidFill>
                        </a:rPr>
                        <a:t>nd</a:t>
                      </a:r>
                      <a:r>
                        <a:rPr lang="en-US" sz="1400" dirty="0">
                          <a:solidFill>
                            <a:schemeClr val="tx2"/>
                          </a:solidFill>
                        </a:rPr>
                        <a:t> layer of security</a:t>
                      </a:r>
                    </a:p>
                    <a:p>
                      <a:pPr marL="285750" indent="-285750">
                        <a:buFont typeface="Arial" panose="020B0604020202020204" pitchFamily="34" charset="0"/>
                        <a:buChar char="•"/>
                      </a:pPr>
                      <a:r>
                        <a:rPr lang="en-US" sz="1400" dirty="0">
                          <a:solidFill>
                            <a:schemeClr val="tx2"/>
                          </a:solidFill>
                        </a:rPr>
                        <a:t>Apply conditional access by enforcing conditions when accessing O365 resour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tx2"/>
                          </a:solidFill>
                        </a:rPr>
                        <a:t>Security Awareness campaign to influence user behavior</a:t>
                      </a:r>
                    </a:p>
                  </a:txBody>
                  <a:tcPr/>
                </a:tc>
                <a:extLst>
                  <a:ext uri="{0D108BD9-81ED-4DB2-BD59-A6C34878D82A}">
                    <a16:rowId xmlns:a16="http://schemas.microsoft.com/office/drawing/2014/main" xmlns="" val="3597830244"/>
                  </a:ext>
                </a:extLst>
              </a:tr>
              <a:tr h="5780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tx2"/>
                          </a:solidFill>
                        </a:rPr>
                        <a:t>Non supported operating systems (Windows 7)</a:t>
                      </a:r>
                      <a:endParaRPr lang="en-US" sz="1400" b="0" dirty="0">
                        <a:solidFill>
                          <a:schemeClr val="tx2"/>
                        </a:solidFill>
                      </a:endParaRPr>
                    </a:p>
                  </a:txBody>
                  <a:tcPr>
                    <a:solidFill>
                      <a:schemeClr val="accent2">
                        <a:lumMod val="60000"/>
                        <a:lumOff val="40000"/>
                      </a:schemeClr>
                    </a:solidFill>
                  </a:tcPr>
                </a:tc>
                <a:tc>
                  <a:txBody>
                    <a:bodyPr/>
                    <a:lstStyle/>
                    <a:p>
                      <a:pPr marL="285750" indent="-285750">
                        <a:buFont typeface="Arial" panose="020B0604020202020204" pitchFamily="34" charset="0"/>
                        <a:buChar char="•"/>
                      </a:pPr>
                      <a:r>
                        <a:rPr lang="en-US" sz="1400" dirty="0">
                          <a:solidFill>
                            <a:schemeClr val="tx2"/>
                          </a:solidFill>
                        </a:rPr>
                        <a:t>Running a project to upgrade endpoint devices to Win 10</a:t>
                      </a:r>
                    </a:p>
                  </a:txBody>
                  <a:tcPr/>
                </a:tc>
                <a:extLst>
                  <a:ext uri="{0D108BD9-81ED-4DB2-BD59-A6C34878D82A}">
                    <a16:rowId xmlns:a16="http://schemas.microsoft.com/office/drawing/2014/main" xmlns="" val="1831462940"/>
                  </a:ext>
                </a:extLst>
              </a:tr>
              <a:tr h="5780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2"/>
                          </a:solidFill>
                        </a:rPr>
                        <a:t>Comprehensive Email Filtering Services</a:t>
                      </a:r>
                      <a:endParaRPr lang="en-US" sz="1400" b="0" kern="1200" dirty="0">
                        <a:solidFill>
                          <a:schemeClr val="tx2"/>
                        </a:solidFill>
                        <a:latin typeface="+mn-lt"/>
                        <a:ea typeface="+mn-ea"/>
                        <a:cs typeface="+mn-cs"/>
                      </a:endParaRPr>
                    </a:p>
                  </a:txBody>
                  <a:tcPr>
                    <a:solidFill>
                      <a:schemeClr val="accent2">
                        <a:lumMod val="60000"/>
                        <a:lumOff val="40000"/>
                      </a:schemeClr>
                    </a:solidFill>
                  </a:tcPr>
                </a:tc>
                <a:tc>
                  <a:txBody>
                    <a:bodyPr/>
                    <a:lstStyle/>
                    <a:p>
                      <a:pPr marL="285750" indent="-285750">
                        <a:buFont typeface="Arial" panose="020B0604020202020204" pitchFamily="34" charset="0"/>
                        <a:buChar char="•"/>
                      </a:pPr>
                      <a:r>
                        <a:rPr lang="en-US" sz="1400" kern="1200" dirty="0">
                          <a:solidFill>
                            <a:schemeClr val="tx2"/>
                          </a:solidFill>
                        </a:rPr>
                        <a:t>All emails internal and external are now been scanned by an advanced email filtering service</a:t>
                      </a:r>
                      <a:endParaRPr lang="en-US" sz="1400" b="0" kern="1200" dirty="0">
                        <a:solidFill>
                          <a:schemeClr val="tx2"/>
                        </a:solidFill>
                        <a:latin typeface="+mn-lt"/>
                        <a:ea typeface="+mn-ea"/>
                        <a:cs typeface="+mn-cs"/>
                      </a:endParaRPr>
                    </a:p>
                  </a:txBody>
                  <a:tcPr/>
                </a:tc>
                <a:extLst>
                  <a:ext uri="{0D108BD9-81ED-4DB2-BD59-A6C34878D82A}">
                    <a16:rowId xmlns:a16="http://schemas.microsoft.com/office/drawing/2014/main" xmlns="" val="3860074492"/>
                  </a:ext>
                </a:extLst>
              </a:tr>
            </a:tbl>
          </a:graphicData>
        </a:graphic>
      </p:graphicFrame>
    </p:spTree>
    <p:extLst>
      <p:ext uri="{BB962C8B-B14F-4D97-AF65-F5344CB8AC3E}">
        <p14:creationId xmlns:p14="http://schemas.microsoft.com/office/powerpoint/2010/main" xmlns="" val="902108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299DCFA-895F-4D6A-85D1-924307829857}"/>
              </a:ext>
            </a:extLst>
          </p:cNvPr>
          <p:cNvSpPr>
            <a:spLocks noGrp="1"/>
          </p:cNvSpPr>
          <p:nvPr>
            <p:ph type="body" sz="quarter" idx="12"/>
          </p:nvPr>
        </p:nvSpPr>
        <p:spPr/>
        <p:txBody>
          <a:bodyPr/>
          <a:lstStyle/>
          <a:p>
            <a:r>
              <a:rPr lang="en-US" dirty="0"/>
              <a:t>User Awareness Campaigns</a:t>
            </a:r>
          </a:p>
        </p:txBody>
      </p:sp>
    </p:spTree>
    <p:extLst>
      <p:ext uri="{BB962C8B-B14F-4D97-AF65-F5344CB8AC3E}">
        <p14:creationId xmlns:p14="http://schemas.microsoft.com/office/powerpoint/2010/main" xmlns="" val="6166419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t> NEW look ! Emailer and Theme for May 2022 </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6" name="TextBox 5">
            <a:extLst>
              <a:ext uri="{FF2B5EF4-FFF2-40B4-BE49-F238E27FC236}">
                <a16:creationId xmlns:a16="http://schemas.microsoft.com/office/drawing/2014/main" xmlns="" id="{9FB58003-53DC-4939-9FC9-30F95FDA00C7}"/>
              </a:ext>
            </a:extLst>
          </p:cNvPr>
          <p:cNvSpPr txBox="1"/>
          <p:nvPr/>
        </p:nvSpPr>
        <p:spPr>
          <a:xfrm>
            <a:off x="1703512" y="1184445"/>
            <a:ext cx="8784976"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entury Gothic"/>
              <a:ea typeface="+mn-ea"/>
              <a:cs typeface="+mn-cs"/>
            </a:endParaRPr>
          </a:p>
        </p:txBody>
      </p:sp>
      <p:pic>
        <p:nvPicPr>
          <p:cNvPr id="7" name="Picture 6" descr="Diagram&#10;&#10;Description automatically generated">
            <a:extLst>
              <a:ext uri="{FF2B5EF4-FFF2-40B4-BE49-F238E27FC236}">
                <a16:creationId xmlns:a16="http://schemas.microsoft.com/office/drawing/2014/main" xmlns="" id="{C0B5EB43-7C86-4262-9A16-C6AD208E1F5D}"/>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791123" y="1322944"/>
            <a:ext cx="9697365" cy="4964317"/>
          </a:xfrm>
          <a:prstGeom prst="rect">
            <a:avLst/>
          </a:prstGeom>
        </p:spPr>
      </p:pic>
      <p:sp>
        <p:nvSpPr>
          <p:cNvPr id="15" name="Rectangle 77">
            <a:extLst>
              <a:ext uri="{FF2B5EF4-FFF2-40B4-BE49-F238E27FC236}">
                <a16:creationId xmlns:a16="http://schemas.microsoft.com/office/drawing/2014/main" xmlns="" id="{20E8B183-3127-4F28-ADC8-B35B4EE367CC}"/>
              </a:ext>
            </a:extLst>
          </p:cNvPr>
          <p:cNvSpPr>
            <a:spLocks noChangeArrowheads="1"/>
          </p:cNvSpPr>
          <p:nvPr>
            <p:custDataLst>
              <p:tags r:id="rId1"/>
            </p:custDataLst>
          </p:nvPr>
        </p:nvSpPr>
        <p:spPr bwMode="auto">
          <a:xfrm>
            <a:off x="5567080" y="5156308"/>
            <a:ext cx="258764" cy="2587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400" b="1" i="0" u="none" strike="noStrike" kern="1200" cap="none" spc="0" normalizeH="0" baseline="0" noProof="0" dirty="0">
                <a:ln>
                  <a:noFill/>
                </a:ln>
                <a:solidFill>
                  <a:srgbClr val="5AA2AE"/>
                </a:solidFill>
                <a:effectLst/>
                <a:uLnTx/>
                <a:uFillTx/>
                <a:latin typeface="Wingdings" pitchFamily="2" charset="2"/>
                <a:ea typeface="+mn-ea"/>
                <a:cs typeface="+mn-cs"/>
              </a:rPr>
              <a:t>ü </a:t>
            </a:r>
          </a:p>
        </p:txBody>
      </p:sp>
    </p:spTree>
    <p:extLst>
      <p:ext uri="{BB962C8B-B14F-4D97-AF65-F5344CB8AC3E}">
        <p14:creationId xmlns:p14="http://schemas.microsoft.com/office/powerpoint/2010/main" xmlns="" val="1676536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F6075B-0EA3-4A21-8789-2066872797A4}"/>
              </a:ext>
            </a:extLst>
          </p:cNvPr>
          <p:cNvSpPr>
            <a:spLocks noGrp="1"/>
          </p:cNvSpPr>
          <p:nvPr>
            <p:ph type="title"/>
          </p:nvPr>
        </p:nvSpPr>
        <p:spPr>
          <a:xfrm>
            <a:off x="381000" y="370841"/>
            <a:ext cx="11285931" cy="391159"/>
          </a:xfrm>
        </p:spPr>
        <p:txBody>
          <a:bodyPr>
            <a:normAutofit/>
          </a:bodyPr>
          <a:lstStyle/>
          <a:p>
            <a:r>
              <a:rPr lang="en-US" dirty="0">
                <a:solidFill>
                  <a:schemeClr val="tx2"/>
                </a:solidFill>
              </a:rPr>
              <a:t>Broadband Fundamentals</a:t>
            </a:r>
          </a:p>
        </p:txBody>
      </p:sp>
      <p:sp>
        <p:nvSpPr>
          <p:cNvPr id="4" name="Slide Number Placeholder 3">
            <a:extLst>
              <a:ext uri="{FF2B5EF4-FFF2-40B4-BE49-F238E27FC236}">
                <a16:creationId xmlns:a16="http://schemas.microsoft.com/office/drawing/2014/main" xmlns="" id="{1E09DF63-1E0C-4797-B9B6-1BCB9645454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540" b="0" i="0" u="none" strike="noStrike" kern="1200" cap="none" spc="0" normalizeH="0" baseline="0" noProof="0" smtClean="0">
                <a:ln>
                  <a:noFill/>
                </a:ln>
                <a:solidFill>
                  <a:srgbClr val="1F497D"/>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540" b="0" i="0" u="none" strike="noStrike" kern="1200" cap="none" spc="0" normalizeH="0" baseline="0" noProof="0" dirty="0">
              <a:ln>
                <a:noFill/>
              </a:ln>
              <a:solidFill>
                <a:srgbClr val="1F497D"/>
              </a:solidFill>
              <a:effectLst/>
              <a:uLnTx/>
              <a:uFillTx/>
              <a:latin typeface="Century Gothic" pitchFamily="34" charset="0"/>
              <a:ea typeface="+mn-ea"/>
              <a:cs typeface="+mn-cs"/>
            </a:endParaRPr>
          </a:p>
        </p:txBody>
      </p:sp>
      <p:sp>
        <p:nvSpPr>
          <p:cNvPr id="8" name="Text Placeholder 6">
            <a:extLst>
              <a:ext uri="{FF2B5EF4-FFF2-40B4-BE49-F238E27FC236}">
                <a16:creationId xmlns:a16="http://schemas.microsoft.com/office/drawing/2014/main" xmlns="" id="{B637EDCC-983D-4D46-A279-7BA3ECB9AD68}"/>
              </a:ext>
            </a:extLst>
          </p:cNvPr>
          <p:cNvSpPr txBox="1">
            <a:spLocks/>
          </p:cNvSpPr>
          <p:nvPr/>
        </p:nvSpPr>
        <p:spPr>
          <a:xfrm>
            <a:off x="403228" y="1127255"/>
            <a:ext cx="11331572" cy="5044945"/>
          </a:xfrm>
          <a:prstGeom prst="rect">
            <a:avLst/>
          </a:prstGeom>
          <a:solidFill>
            <a:schemeClr val="bg1">
              <a:lumMod val="95000"/>
            </a:schemeClr>
          </a:solidFill>
        </p:spPr>
        <p:txBody>
          <a:bodyPr wrap="square" lIns="0" tIns="0" rIns="0" bIns="0">
            <a:normAutofit/>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Calibri"/>
                <a:ea typeface="+mn-ea"/>
                <a:cs typeface="+mn-cs"/>
              </a:rPr>
              <a:t>What is Broadband?</a:t>
            </a:r>
          </a:p>
          <a:p>
            <a:pPr marL="353416" marR="0" lvl="0" indent="-35341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Calibri"/>
                <a:ea typeface="+mn-ea"/>
                <a:cs typeface="+mn-cs"/>
              </a:rPr>
              <a:t>Broadband is a Wide Area Network (WAN) technology that provides network connectivity at WCG sites. </a:t>
            </a:r>
          </a:p>
          <a:p>
            <a:pPr marL="353416" marR="0" lvl="0" indent="-35341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Calibri"/>
                <a:ea typeface="+mn-ea"/>
                <a:cs typeface="+mn-cs"/>
              </a:rPr>
              <a:t>Broadband is high-speed connectivity, regarded as minimum speeds of 10Mbps (upload and download – symmetrical).</a:t>
            </a:r>
          </a:p>
          <a:p>
            <a:pPr marL="353416" marR="0" lvl="0" indent="-35341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Calibri"/>
                <a:ea typeface="+mn-ea"/>
                <a:cs typeface="+mn-cs"/>
              </a:rPr>
              <a:t>It enables the WCG to conduct its business digitally and use tools such as email, the Internet, MS Teams and other digital applications. </a:t>
            </a:r>
          </a:p>
          <a:p>
            <a:pPr marL="353416" marR="0" lvl="0" indent="-353416"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latin typeface="Calibri"/>
                <a:ea typeface="+mn-ea"/>
                <a:cs typeface="+mn-cs"/>
              </a:rPr>
              <a:t>Broadband speeds are particularly important in the health and education environments for transmitting radiography/radiology images and facilitating e-learning.</a:t>
            </a:r>
          </a:p>
          <a:p>
            <a:pPr marR="0" lvl="0" algn="l" defTabSz="914400" rtl="0" eaLnBrk="1" fontAlgn="auto" latinLnBrk="0" hangingPunct="1">
              <a:lnSpc>
                <a:spcPct val="100000"/>
              </a:lnSpc>
              <a:spcBef>
                <a:spcPts val="600"/>
              </a:spcBef>
              <a:spcAft>
                <a:spcPts val="0"/>
              </a:spcAft>
              <a:buClrTx/>
              <a:buSzTx/>
              <a:tabLst/>
              <a:defRPr/>
            </a:pPr>
            <a:endParaRPr lang="en-US" sz="1600" kern="0" dirty="0">
              <a:solidFill>
                <a:prstClr val="black"/>
              </a:solidFill>
              <a:latin typeface="Calibri"/>
            </a:endParaRPr>
          </a:p>
          <a:p>
            <a:pPr marR="0" lvl="0" algn="l" defTabSz="914400" rtl="0" eaLnBrk="1" fontAlgn="auto" latinLnBrk="0" hangingPunct="1">
              <a:lnSpc>
                <a:spcPct val="100000"/>
              </a:lnSpc>
              <a:spcBef>
                <a:spcPts val="600"/>
              </a:spcBef>
              <a:spcAft>
                <a:spcPts val="0"/>
              </a:spcAft>
              <a:buClrTx/>
              <a:buSzTx/>
              <a:tabLst/>
              <a:defRPr/>
            </a:pPr>
            <a:r>
              <a:rPr kumimoji="0" lang="en-US" sz="1600" b="1" i="0" u="none" strike="noStrike" kern="0" cap="none" spc="0" normalizeH="0" baseline="0" noProof="0" dirty="0">
                <a:ln>
                  <a:noFill/>
                </a:ln>
                <a:solidFill>
                  <a:prstClr val="black"/>
                </a:solidFill>
                <a:effectLst/>
                <a:uLnTx/>
                <a:uFillTx/>
                <a:latin typeface="Calibri"/>
                <a:ea typeface="+mn-ea"/>
                <a:cs typeface="+mn-cs"/>
              </a:rPr>
              <a:t>WCG Broadband Strategic Framework</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kern="0" dirty="0">
                <a:solidFill>
                  <a:prstClr val="black"/>
                </a:solidFill>
                <a:latin typeface="Calibri"/>
              </a:rPr>
              <a:t>The WCG Broadband Strategic Framework, approved by Provincial Cabinet in 2011, set out to create an enabling environment for the creation of broadband infrastructure and skills to:</a:t>
            </a:r>
          </a:p>
          <a:p>
            <a:pPr marL="742950" lvl="1" indent="-285750">
              <a:spcBef>
                <a:spcPts val="600"/>
              </a:spcBef>
              <a:buFont typeface="Courier New" panose="02070309020205020404" pitchFamily="49" charset="0"/>
              <a:buChar char="o"/>
              <a:defRPr/>
            </a:pPr>
            <a:r>
              <a:rPr kumimoji="0" lang="en-US" sz="1600" b="0" i="0" u="none" strike="noStrike" kern="0" cap="none" spc="0" normalizeH="0" baseline="0" noProof="0" dirty="0">
                <a:ln>
                  <a:noFill/>
                </a:ln>
                <a:solidFill>
                  <a:prstClr val="black"/>
                </a:solidFill>
                <a:effectLst/>
                <a:uLnTx/>
                <a:uFillTx/>
                <a:latin typeface="Calibri"/>
                <a:ea typeface="+mn-ea"/>
                <a:cs typeface="+mn-cs"/>
              </a:rPr>
              <a:t>Improve provincial and local government service delivery (connected government)</a:t>
            </a:r>
          </a:p>
          <a:p>
            <a:pPr marL="742950" lvl="1" indent="-285750">
              <a:spcBef>
                <a:spcPts val="600"/>
              </a:spcBef>
              <a:buFont typeface="Courier New" panose="02070309020205020404" pitchFamily="49" charset="0"/>
              <a:buChar char="o"/>
              <a:defRPr/>
            </a:pPr>
            <a:r>
              <a:rPr lang="en-US" sz="1600" kern="0" dirty="0">
                <a:solidFill>
                  <a:prstClr val="black"/>
                </a:solidFill>
                <a:latin typeface="Calibri"/>
              </a:rPr>
              <a:t>Improve citizens’ access to communications infrastructure, information and opportunities – broadening their participation in society (connected citizens); and</a:t>
            </a:r>
          </a:p>
          <a:p>
            <a:pPr marL="742950" lvl="1" indent="-285750">
              <a:spcBef>
                <a:spcPts val="600"/>
              </a:spcBef>
              <a:buFont typeface="Courier New" panose="02070309020205020404" pitchFamily="49" charset="0"/>
              <a:buChar char="o"/>
              <a:defRPr/>
            </a:pPr>
            <a:r>
              <a:rPr kumimoji="0" lang="en-US" sz="1600" b="0" i="0" u="none" strike="noStrike" kern="0" cap="none" spc="0" normalizeH="0" baseline="0" noProof="0" dirty="0">
                <a:ln>
                  <a:noFill/>
                </a:ln>
                <a:solidFill>
                  <a:prstClr val="black"/>
                </a:solidFill>
                <a:effectLst/>
                <a:uLnTx/>
                <a:uFillTx/>
                <a:latin typeface="Calibri"/>
                <a:ea typeface="+mn-ea"/>
                <a:cs typeface="+mn-cs"/>
              </a:rPr>
              <a:t>Increase access to new opportunities and markets, while making the Western Cape business environment more competitive and open for new kinds of service-oriented businesses (connected economy).</a:t>
            </a:r>
          </a:p>
          <a:p>
            <a:pPr marR="0" lvl="0" algn="l" defTabSz="914400" rtl="0" eaLnBrk="1" fontAlgn="auto" latinLnBrk="0" hangingPunct="1">
              <a:lnSpc>
                <a:spcPct val="100000"/>
              </a:lnSpc>
              <a:spcBef>
                <a:spcPts val="600"/>
              </a:spcBef>
              <a:spcAft>
                <a:spcPts val="0"/>
              </a:spcAft>
              <a:buClrTx/>
              <a:buSzTx/>
              <a:tabLst/>
              <a:defRPr/>
            </a:pPr>
            <a:endParaRPr kumimoji="0" lang="en-US" sz="16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24375169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latin typeface="Century Gothic"/>
              </a:rPr>
              <a:t> Spear Phishing – 30/05/2022 – 30/06/2022</a:t>
            </a:r>
          </a:p>
        </p:txBody>
      </p:sp>
      <p:sp>
        <p:nvSpPr>
          <p:cNvPr id="3" name="Slide Number Placeholder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10" name="TextBox 9">
            <a:extLst>
              <a:ext uri="{FF2B5EF4-FFF2-40B4-BE49-F238E27FC236}">
                <a16:creationId xmlns:a16="http://schemas.microsoft.com/office/drawing/2014/main" xmlns="" id="{B799E7EB-AD79-44E5-A1AE-A7AFDD323193}"/>
              </a:ext>
            </a:extLst>
          </p:cNvPr>
          <p:cNvSpPr txBox="1"/>
          <p:nvPr/>
        </p:nvSpPr>
        <p:spPr>
          <a:xfrm>
            <a:off x="642937" y="1114816"/>
            <a:ext cx="10929937" cy="433965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The theme for May's Cyber Security Awareness is </a:t>
            </a:r>
            <a:r>
              <a:rPr kumimoji="0" lang="en-US" sz="1800" b="1" i="0" u="none" strike="noStrike" kern="1200" cap="none" spc="0" normalizeH="0" baseline="0" noProof="0" dirty="0">
                <a:ln>
                  <a:noFill/>
                </a:ln>
                <a:solidFill>
                  <a:prstClr val="black"/>
                </a:solidFill>
                <a:effectLst/>
                <a:uLnTx/>
                <a:uFillTx/>
                <a:latin typeface="Century Gothic"/>
                <a:ea typeface="+mn-ea"/>
                <a:cs typeface="+mn-cs"/>
              </a:rPr>
              <a:t>Spear Phishing. </a:t>
            </a:r>
            <a:r>
              <a:rPr kumimoji="0" lang="en-US" sz="1800" b="0" i="0" u="none" strike="noStrike" kern="1200" cap="none" spc="0" normalizeH="0" baseline="0" noProof="0" dirty="0">
                <a:ln>
                  <a:noFill/>
                </a:ln>
                <a:solidFill>
                  <a:prstClr val="black"/>
                </a:solidFill>
                <a:effectLst/>
                <a:uLnTx/>
                <a:uFillTx/>
                <a:latin typeface="Century Gothic"/>
                <a:ea typeface="+mn-ea"/>
                <a:cs typeface="+mn-cs"/>
              </a:rPr>
              <a:t>The campaign will be deployed to all WCG users on the </a:t>
            </a:r>
            <a:r>
              <a:rPr kumimoji="0" lang="en-US" sz="1800" b="1" i="0" u="none" strike="noStrike" kern="1200" cap="none" spc="0" normalizeH="0" baseline="0" noProof="0" dirty="0">
                <a:ln>
                  <a:noFill/>
                </a:ln>
                <a:solidFill>
                  <a:prstClr val="black"/>
                </a:solidFill>
                <a:effectLst/>
                <a:uLnTx/>
                <a:uFillTx/>
                <a:latin typeface="Century Gothic"/>
                <a:ea typeface="+mn-ea"/>
                <a:cs typeface="+mn-cs"/>
              </a:rPr>
              <a:t>30th May </a:t>
            </a:r>
            <a:r>
              <a:rPr kumimoji="0" lang="en-US" sz="1800" b="0" i="0" u="none" strike="noStrike" kern="1200" cap="none" spc="0" normalizeH="0" baseline="0" noProof="0" dirty="0">
                <a:ln>
                  <a:noFill/>
                </a:ln>
                <a:solidFill>
                  <a:prstClr val="black"/>
                </a:solidFill>
                <a:effectLst/>
                <a:uLnTx/>
                <a:uFillTx/>
                <a:latin typeface="Century Gothic"/>
                <a:ea typeface="+mn-ea"/>
                <a:cs typeface="+mn-cs"/>
              </a:rPr>
              <a:t>and will close on </a:t>
            </a:r>
            <a:r>
              <a:rPr kumimoji="0" lang="en-US" sz="1800" b="1" i="0" u="none" strike="noStrike" kern="1200" cap="none" spc="0" normalizeH="0" baseline="0" noProof="0" dirty="0">
                <a:ln>
                  <a:noFill/>
                </a:ln>
                <a:solidFill>
                  <a:prstClr val="black"/>
                </a:solidFill>
                <a:effectLst/>
                <a:uLnTx/>
                <a:uFillTx/>
                <a:latin typeface="Century Gothic"/>
                <a:ea typeface="+mn-ea"/>
                <a:cs typeface="+mn-cs"/>
              </a:rPr>
              <a:t>30 June 2022. </a:t>
            </a:r>
            <a:r>
              <a:rPr kumimoji="0" lang="en-US" sz="1800" b="0" i="0" u="none" strike="noStrike" kern="1200" cap="none" spc="0" normalizeH="0" baseline="0" noProof="0" dirty="0">
                <a:ln>
                  <a:noFill/>
                </a:ln>
                <a:solidFill>
                  <a:prstClr val="black"/>
                </a:solidFill>
                <a:effectLst/>
                <a:uLnTx/>
                <a:uFillTx/>
                <a:latin typeface="Century Gothic"/>
                <a:ea typeface="+mn-ea"/>
                <a:cs typeface="+mn-cs"/>
              </a:rPr>
              <a:t>Users will additionally be notified about the campaign via a Corporate Communications emailer that will be sent on before the launch of the campaign.</a:t>
            </a: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18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a:ea typeface="+mn-lt"/>
                <a:cs typeface="+mn-lt"/>
              </a:rPr>
              <a:t>The WCG has experienced incidents in the past where users from various departments were specifically targeted and solicited for confidential information. Hence the need to create user awareness around this topic.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a:ea typeface="+mn-lt"/>
              <a:cs typeface="+mn-lt"/>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800" b="0" i="0" u="none" strike="noStrike" kern="1200" cap="none" spc="0" normalizeH="0" baseline="0" noProof="0" dirty="0">
                <a:ln>
                  <a:noFill/>
                </a:ln>
                <a:solidFill>
                  <a:prstClr val="black"/>
                </a:solidFill>
                <a:effectLst/>
                <a:uLnTx/>
                <a:uFillTx/>
                <a:latin typeface="Century Gothic"/>
                <a:ea typeface="+mn-lt"/>
                <a:cs typeface="+mn-lt"/>
              </a:rPr>
              <a:t>The aim of this campaign is to explain what spear phishing is, to help users identify potential threats, and how to protect yourself from becoming a spear phishing victim. This bite-sized video ends with a 5-question multiple choice quiz to test the users' knowledge.  The video is produced in South Africa and stars local comedian Jason Goliath.</a:t>
            </a:r>
            <a:endParaRPr kumimoji="0" lang="en-GB" sz="1800" b="1" i="0" u="none" strike="noStrike" kern="1200" cap="none" spc="0" normalizeH="0" baseline="0" noProof="0" dirty="0">
              <a:ln>
                <a:noFill/>
              </a:ln>
              <a:solidFill>
                <a:prstClr val="black"/>
              </a:solidFill>
              <a:effectLst/>
              <a:uLnTx/>
              <a:uFillTx/>
              <a:latin typeface="Century Gothic" pitchFamily="34" charset="0"/>
              <a:ea typeface="+mn-lt"/>
              <a:cs typeface="+mn-lt"/>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1800" b="0" i="0" u="none" strike="noStrike" kern="1200" cap="none" spc="0" normalizeH="0" baseline="0" noProof="0" dirty="0">
              <a:ln>
                <a:noFill/>
              </a:ln>
              <a:solidFill>
                <a:prstClr val="black"/>
              </a:solidFill>
              <a:effectLst/>
              <a:uLnTx/>
              <a:uFillTx/>
              <a:latin typeface="Century Gothic"/>
              <a:ea typeface="+mn-lt"/>
              <a:cs typeface="+mn-lt"/>
            </a:endParaRPr>
          </a:p>
          <a:p>
            <a:pPr marL="0" marR="0" lvl="0" indent="0" algn="l"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GB" sz="1400" b="0" i="0" u="none" strike="noStrike" kern="1200" cap="none" spc="0" normalizeH="0" baseline="0" noProof="0" dirty="0">
              <a:ln>
                <a:noFill/>
              </a:ln>
              <a:solidFill>
                <a:prstClr val="black"/>
              </a:solidFill>
              <a:effectLst/>
              <a:uLnTx/>
              <a:uFillTx/>
              <a:latin typeface="Century Gothic"/>
              <a:ea typeface="+mn-lt"/>
              <a:cs typeface="+mn-lt"/>
            </a:endParaRPr>
          </a:p>
        </p:txBody>
      </p:sp>
    </p:spTree>
    <p:extLst>
      <p:ext uri="{BB962C8B-B14F-4D97-AF65-F5344CB8AC3E}">
        <p14:creationId xmlns:p14="http://schemas.microsoft.com/office/powerpoint/2010/main" xmlns="" val="34959192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 Placeholder 5">
            <a:extLst>
              <a:ext uri="{FF2B5EF4-FFF2-40B4-BE49-F238E27FC236}">
                <a16:creationId xmlns:a16="http://schemas.microsoft.com/office/drawing/2014/main" xmlns="" id="{FB8CEA51-928E-B810-939F-7927E0721ED5}"/>
              </a:ext>
            </a:extLst>
          </p:cNvPr>
          <p:cNvSpPr txBox="1">
            <a:spLocks/>
          </p:cNvSpPr>
          <p:nvPr/>
        </p:nvSpPr>
        <p:spPr>
          <a:xfrm>
            <a:off x="4069749" y="2926847"/>
            <a:ext cx="7101024" cy="1008014"/>
          </a:xfrm>
          <a:prstGeom prst="rect">
            <a:avLst/>
          </a:prstGeom>
          <a:solidFill>
            <a:schemeClr val="accent4">
              <a:lumMod val="20000"/>
              <a:lumOff val="80000"/>
            </a:schemeClr>
          </a:solidFill>
        </p:spPr>
        <p:txBody>
          <a:bodyPr lIns="360000" tIns="72000" rIns="72000" bIns="72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July – How Scammers Work </a:t>
            </a:r>
          </a:p>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August – Social Media Overshare   </a:t>
            </a:r>
          </a:p>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September – Protection of Personal Information </a:t>
            </a:r>
          </a:p>
        </p:txBody>
      </p:sp>
      <p:sp>
        <p:nvSpPr>
          <p:cNvPr id="2" name="Title 1">
            <a:extLst>
              <a:ext uri="{FF2B5EF4-FFF2-40B4-BE49-F238E27FC236}">
                <a16:creationId xmlns:a16="http://schemas.microsoft.com/office/drawing/2014/main" xmlns="" id="{E82E90F8-388C-4887-890A-EECE076272AB}"/>
              </a:ext>
            </a:extLst>
          </p:cNvPr>
          <p:cNvSpPr>
            <a:spLocks noGrp="1"/>
          </p:cNvSpPr>
          <p:nvPr>
            <p:ph type="title"/>
          </p:nvPr>
        </p:nvSpPr>
        <p:spPr/>
        <p:txBody>
          <a:bodyPr/>
          <a:lstStyle/>
          <a:p>
            <a:r>
              <a:rPr lang="en-US" dirty="0"/>
              <a:t>Upcoming themes</a:t>
            </a:r>
          </a:p>
        </p:txBody>
      </p:sp>
      <p:sp>
        <p:nvSpPr>
          <p:cNvPr id="3" name="Slide Number Placeholder 2">
            <a:extLst>
              <a:ext uri="{FF2B5EF4-FFF2-40B4-BE49-F238E27FC236}">
                <a16:creationId xmlns:a16="http://schemas.microsoft.com/office/drawing/2014/main" xmlns="" id="{6EB67ACF-05A4-475F-A0CD-E6EE47ADA22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6" name="Text Placeholder 5">
            <a:extLst>
              <a:ext uri="{FF2B5EF4-FFF2-40B4-BE49-F238E27FC236}">
                <a16:creationId xmlns:a16="http://schemas.microsoft.com/office/drawing/2014/main" xmlns="" id="{D5D349AC-B50C-3136-E4C3-E4A1214F012A}"/>
              </a:ext>
            </a:extLst>
          </p:cNvPr>
          <p:cNvSpPr txBox="1">
            <a:spLocks/>
          </p:cNvSpPr>
          <p:nvPr/>
        </p:nvSpPr>
        <p:spPr>
          <a:xfrm>
            <a:off x="4079776" y="1412874"/>
            <a:ext cx="7090997" cy="1008014"/>
          </a:xfrm>
          <a:prstGeom prst="rect">
            <a:avLst/>
          </a:prstGeom>
          <a:solidFill>
            <a:schemeClr val="accent4">
              <a:lumMod val="20000"/>
              <a:lumOff val="80000"/>
            </a:schemeClr>
          </a:solidFill>
        </p:spPr>
        <p:txBody>
          <a:bodyPr lIns="360000" tIns="72000" rIns="72000" bIns="72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May – Spear Phishing  </a:t>
            </a:r>
          </a:p>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June – Passwords </a:t>
            </a:r>
          </a:p>
        </p:txBody>
      </p:sp>
      <p:sp>
        <p:nvSpPr>
          <p:cNvPr id="7" name="Rechteck 5">
            <a:extLst>
              <a:ext uri="{FF2B5EF4-FFF2-40B4-BE49-F238E27FC236}">
                <a16:creationId xmlns:a16="http://schemas.microsoft.com/office/drawing/2014/main" xmlns="" id="{74B6441B-A33B-1E0F-C5B6-F03D855F0A9A}"/>
              </a:ext>
            </a:extLst>
          </p:cNvPr>
          <p:cNvSpPr>
            <a:spLocks/>
          </p:cNvSpPr>
          <p:nvPr/>
        </p:nvSpPr>
        <p:spPr>
          <a:xfrm>
            <a:off x="793630" y="1412874"/>
            <a:ext cx="2926106" cy="1008014"/>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900"/>
              </a:spcAft>
              <a:buClr>
                <a:srgbClr val="629DD1"/>
              </a:buClr>
              <a:buSzPct val="130000"/>
              <a:buFontTx/>
              <a:buNone/>
              <a:tabLst/>
              <a:defRPr/>
            </a:pPr>
            <a:r>
              <a:rPr kumimoji="0" lang="en-GB" sz="1600" b="1" i="0" u="none" strike="noStrike" kern="1200" cap="none" spc="0" normalizeH="0" baseline="0" noProof="0" dirty="0">
                <a:ln>
                  <a:noFill/>
                </a:ln>
                <a:solidFill>
                  <a:prstClr val="white"/>
                </a:solidFill>
                <a:effectLst/>
                <a:uLnTx/>
                <a:uFillTx/>
                <a:latin typeface="Century Gothic"/>
                <a:ea typeface="+mn-ea"/>
                <a:cs typeface="+mn-cs"/>
              </a:rPr>
              <a:t>Quarter 2, 2022</a:t>
            </a:r>
          </a:p>
        </p:txBody>
      </p:sp>
      <p:sp>
        <p:nvSpPr>
          <p:cNvPr id="8" name="AutoShape 6">
            <a:extLst>
              <a:ext uri="{FF2B5EF4-FFF2-40B4-BE49-F238E27FC236}">
                <a16:creationId xmlns:a16="http://schemas.microsoft.com/office/drawing/2014/main" xmlns="" id="{9E37C80C-DC11-9EB8-96BB-16E5FD125AD2}"/>
              </a:ext>
            </a:extLst>
          </p:cNvPr>
          <p:cNvSpPr>
            <a:spLocks noChangeArrowheads="1"/>
          </p:cNvSpPr>
          <p:nvPr/>
        </p:nvSpPr>
        <p:spPr bwMode="auto">
          <a:xfrm rot="5400000">
            <a:off x="3731239" y="1751782"/>
            <a:ext cx="697073" cy="330200"/>
          </a:xfrm>
          <a:prstGeom prst="triangle">
            <a:avLst>
              <a:gd name="adj" fmla="val 50000"/>
            </a:avLst>
          </a:prstGeom>
          <a:solidFill>
            <a:schemeClr val="accent3"/>
          </a:solidFill>
          <a:ln w="28575" algn="ctr">
            <a:solidFill>
              <a:schemeClr val="bg1"/>
            </a:solidFill>
            <a:miter lim="800000"/>
            <a:headEnd/>
            <a:tailEnd/>
          </a:ln>
          <a:effectLst/>
        </p:spPr>
        <p:txBody>
          <a:bodyPr rot="10800000" vert="eaVert" wrap="none" lIns="90000" rIns="720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10" name="Rechteck 5">
            <a:extLst>
              <a:ext uri="{FF2B5EF4-FFF2-40B4-BE49-F238E27FC236}">
                <a16:creationId xmlns:a16="http://schemas.microsoft.com/office/drawing/2014/main" xmlns="" id="{C5364E35-64A1-359B-A517-933F57C86F9B}"/>
              </a:ext>
            </a:extLst>
          </p:cNvPr>
          <p:cNvSpPr>
            <a:spLocks/>
          </p:cNvSpPr>
          <p:nvPr/>
        </p:nvSpPr>
        <p:spPr>
          <a:xfrm>
            <a:off x="793630" y="2916821"/>
            <a:ext cx="2916080" cy="1008014"/>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9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entury Gothic"/>
                <a:ea typeface="+mn-lt"/>
                <a:cs typeface="+mn-lt"/>
              </a:rPr>
              <a:t>Quarter 3, 2022</a:t>
            </a:r>
            <a:endParaRPr kumimoji="0" lang="en-US" sz="2400" b="0" i="0" u="none" strike="noStrike" kern="1200" cap="none" spc="0" normalizeH="0" baseline="0" noProof="0" dirty="0">
              <a:ln>
                <a:noFill/>
              </a:ln>
              <a:solidFill>
                <a:prstClr val="white"/>
              </a:solidFill>
              <a:effectLst/>
              <a:uLnTx/>
              <a:uFillTx/>
              <a:latin typeface="Century Gothic"/>
              <a:ea typeface="+mn-lt"/>
              <a:cs typeface="+mn-lt"/>
            </a:endParaRPr>
          </a:p>
        </p:txBody>
      </p:sp>
      <p:sp>
        <p:nvSpPr>
          <p:cNvPr id="11" name="AutoShape 6">
            <a:extLst>
              <a:ext uri="{FF2B5EF4-FFF2-40B4-BE49-F238E27FC236}">
                <a16:creationId xmlns:a16="http://schemas.microsoft.com/office/drawing/2014/main" xmlns="" id="{978C61D3-D83C-88F7-F3BE-9C8A9FCB3E0D}"/>
              </a:ext>
            </a:extLst>
          </p:cNvPr>
          <p:cNvSpPr>
            <a:spLocks noChangeArrowheads="1"/>
          </p:cNvSpPr>
          <p:nvPr/>
        </p:nvSpPr>
        <p:spPr bwMode="auto">
          <a:xfrm rot="5400000">
            <a:off x="3721213" y="3255729"/>
            <a:ext cx="697073" cy="330200"/>
          </a:xfrm>
          <a:prstGeom prst="triangle">
            <a:avLst>
              <a:gd name="adj" fmla="val 50000"/>
            </a:avLst>
          </a:prstGeom>
          <a:solidFill>
            <a:schemeClr val="accent3"/>
          </a:solidFill>
          <a:ln w="28575" algn="ctr">
            <a:solidFill>
              <a:schemeClr val="bg1"/>
            </a:solidFill>
            <a:miter lim="800000"/>
            <a:headEnd/>
            <a:tailEnd/>
          </a:ln>
          <a:effectLst/>
        </p:spPr>
        <p:txBody>
          <a:bodyPr rot="10800000" vert="eaVert" wrap="none" lIns="90000" rIns="720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12" name="Text Placeholder 5">
            <a:extLst>
              <a:ext uri="{FF2B5EF4-FFF2-40B4-BE49-F238E27FC236}">
                <a16:creationId xmlns:a16="http://schemas.microsoft.com/office/drawing/2014/main" xmlns="" id="{5E63BDA5-5DE9-EAF2-92FF-806374FD96C5}"/>
              </a:ext>
            </a:extLst>
          </p:cNvPr>
          <p:cNvSpPr txBox="1">
            <a:spLocks/>
          </p:cNvSpPr>
          <p:nvPr/>
        </p:nvSpPr>
        <p:spPr>
          <a:xfrm>
            <a:off x="4069750" y="4440821"/>
            <a:ext cx="7101023" cy="1008014"/>
          </a:xfrm>
          <a:prstGeom prst="rect">
            <a:avLst/>
          </a:prstGeom>
          <a:solidFill>
            <a:schemeClr val="accent4">
              <a:lumMod val="20000"/>
              <a:lumOff val="80000"/>
            </a:schemeClr>
          </a:solidFill>
        </p:spPr>
        <p:txBody>
          <a:bodyPr lIns="360000" tIns="72000" rIns="72000" bIns="72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200" b="0" i="0" u="none" strike="noStrike" kern="1200" cap="none" spc="0" normalizeH="0" baseline="0" noProof="0" dirty="0">
                <a:ln>
                  <a:noFill/>
                </a:ln>
                <a:solidFill>
                  <a:prstClr val="black"/>
                </a:solidFill>
                <a:effectLst/>
                <a:uLnTx/>
                <a:uFillTx/>
                <a:latin typeface="Century Gothic"/>
                <a:ea typeface="+mn-ea"/>
                <a:cs typeface="+mn-cs"/>
              </a:rPr>
              <a:t> </a:t>
            </a:r>
            <a:r>
              <a:rPr kumimoji="0" lang="en-US" sz="1600" b="0" i="0" u="none" strike="noStrike" kern="1200" cap="none" spc="0" normalizeH="0" baseline="0" noProof="0" dirty="0">
                <a:ln>
                  <a:noFill/>
                </a:ln>
                <a:solidFill>
                  <a:prstClr val="black"/>
                </a:solidFill>
                <a:effectLst/>
                <a:uLnTx/>
                <a:uFillTx/>
                <a:latin typeface="Century Gothic"/>
                <a:ea typeface="+mn-ea"/>
                <a:cs typeface="+mn-cs"/>
              </a:rPr>
              <a:t>October – Cloud Security (Cyber Security Awareness Month)</a:t>
            </a:r>
          </a:p>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November – Device Security </a:t>
            </a:r>
          </a:p>
          <a:p>
            <a:pPr marL="457200" marR="0" lvl="1" indent="0" algn="l" defTabSz="914400" rtl="0" eaLnBrk="1" fontAlgn="auto" latinLnBrk="0" hangingPunct="1">
              <a:lnSpc>
                <a:spcPct val="100000"/>
              </a:lnSpc>
              <a:spcBef>
                <a:spcPts val="300"/>
              </a:spcBef>
              <a:spcAft>
                <a:spcPts val="0"/>
              </a:spcAft>
              <a:buClr>
                <a:srgbClr val="002060"/>
              </a:buClr>
              <a:buSzTx/>
              <a:buFontTx/>
              <a:buBlip>
                <a:blip r:embed="rId3"/>
              </a:buBlip>
              <a:tabLst/>
              <a:defRPr/>
            </a:pPr>
            <a:r>
              <a:rPr kumimoji="0" lang="en-US" sz="1600" b="0" i="0" u="none" strike="noStrike" kern="1200" cap="none" spc="0" normalizeH="0" baseline="0" noProof="0" dirty="0">
                <a:ln>
                  <a:noFill/>
                </a:ln>
                <a:solidFill>
                  <a:prstClr val="black"/>
                </a:solidFill>
                <a:effectLst/>
                <a:uLnTx/>
                <a:uFillTx/>
                <a:latin typeface="Century Gothic"/>
                <a:ea typeface="+mn-ea"/>
                <a:cs typeface="+mn-cs"/>
              </a:rPr>
              <a:t> December – Cyber Safe Holidays </a:t>
            </a:r>
          </a:p>
        </p:txBody>
      </p:sp>
      <p:sp>
        <p:nvSpPr>
          <p:cNvPr id="13" name="Rechteck 5">
            <a:extLst>
              <a:ext uri="{FF2B5EF4-FFF2-40B4-BE49-F238E27FC236}">
                <a16:creationId xmlns:a16="http://schemas.microsoft.com/office/drawing/2014/main" xmlns="" id="{0E6358D4-8FB1-050F-0DA7-ADA65104BCB9}"/>
              </a:ext>
            </a:extLst>
          </p:cNvPr>
          <p:cNvSpPr>
            <a:spLocks/>
          </p:cNvSpPr>
          <p:nvPr/>
        </p:nvSpPr>
        <p:spPr>
          <a:xfrm>
            <a:off x="793630" y="4440821"/>
            <a:ext cx="2916080" cy="1008014"/>
          </a:xfrm>
          <a:prstGeom prst="rect">
            <a:avLst/>
          </a:prstGeom>
          <a:solidFill>
            <a:schemeClr val="tx2"/>
          </a:solidFill>
          <a:ln w="12700">
            <a:noFill/>
          </a:ln>
        </p:spPr>
        <p:style>
          <a:lnRef idx="1">
            <a:schemeClr val="accent1"/>
          </a:lnRef>
          <a:fillRef idx="0">
            <a:schemeClr val="accent1"/>
          </a:fillRef>
          <a:effectRef idx="0">
            <a:schemeClr val="accent1"/>
          </a:effectRef>
          <a:fontRef idx="minor">
            <a:schemeClr val="tx1"/>
          </a:fontRef>
        </p:style>
        <p:txBody>
          <a:bodyPr rot="0" spcFirstLastPara="0" vert="horz" wrap="square" lIns="72000" tIns="72000" rIns="72000" bIns="7200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500"/>
              </a:spcBef>
              <a:spcAft>
                <a:spcPts val="90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entury Gothic"/>
                <a:ea typeface="+mn-lt"/>
                <a:cs typeface="+mn-lt"/>
              </a:rPr>
              <a:t>Quarter 4, 2022</a:t>
            </a:r>
            <a:endParaRPr kumimoji="0" lang="en-US" sz="2400" b="0" i="0" u="none" strike="noStrike" kern="1200" cap="none" spc="0" normalizeH="0" baseline="0" noProof="0" dirty="0">
              <a:ln>
                <a:noFill/>
              </a:ln>
              <a:solidFill>
                <a:prstClr val="white"/>
              </a:solidFill>
              <a:effectLst/>
              <a:uLnTx/>
              <a:uFillTx/>
              <a:latin typeface="Century Gothic"/>
              <a:ea typeface="+mn-ea"/>
              <a:cs typeface="+mn-cs"/>
            </a:endParaRPr>
          </a:p>
        </p:txBody>
      </p:sp>
      <p:sp>
        <p:nvSpPr>
          <p:cNvPr id="14" name="AutoShape 6">
            <a:extLst>
              <a:ext uri="{FF2B5EF4-FFF2-40B4-BE49-F238E27FC236}">
                <a16:creationId xmlns:a16="http://schemas.microsoft.com/office/drawing/2014/main" xmlns="" id="{881FA286-6A50-B819-9F48-D2D660D53377}"/>
              </a:ext>
            </a:extLst>
          </p:cNvPr>
          <p:cNvSpPr>
            <a:spLocks noChangeArrowheads="1"/>
          </p:cNvSpPr>
          <p:nvPr/>
        </p:nvSpPr>
        <p:spPr bwMode="auto">
          <a:xfrm rot="5400000">
            <a:off x="3721213" y="4779729"/>
            <a:ext cx="697073" cy="330200"/>
          </a:xfrm>
          <a:prstGeom prst="triangle">
            <a:avLst>
              <a:gd name="adj" fmla="val 50000"/>
            </a:avLst>
          </a:prstGeom>
          <a:solidFill>
            <a:schemeClr val="accent3"/>
          </a:solidFill>
          <a:ln w="28575" algn="ctr">
            <a:solidFill>
              <a:schemeClr val="bg1"/>
            </a:solidFill>
            <a:miter lim="800000"/>
            <a:headEnd/>
            <a:tailEnd/>
          </a:ln>
          <a:effectLst/>
        </p:spPr>
        <p:txBody>
          <a:bodyPr rot="10800000" vert="eaVert" wrap="none" lIns="90000" rIns="720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Arial" charset="0"/>
              <a:ea typeface="+mn-ea"/>
              <a:cs typeface="+mn-cs"/>
            </a:endParaRPr>
          </a:p>
        </p:txBody>
      </p:sp>
    </p:spTree>
    <p:extLst>
      <p:ext uri="{BB962C8B-B14F-4D97-AF65-F5344CB8AC3E}">
        <p14:creationId xmlns:p14="http://schemas.microsoft.com/office/powerpoint/2010/main" xmlns="" val="27303862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AE107375-CF29-4C63-B06E-85DD73E9248C}"/>
              </a:ext>
            </a:extLst>
          </p:cNvPr>
          <p:cNvSpPr>
            <a:spLocks noGrp="1"/>
          </p:cNvSpPr>
          <p:nvPr>
            <p:ph type="body" sz="quarter" idx="12"/>
          </p:nvPr>
        </p:nvSpPr>
        <p:spPr/>
        <p:txBody>
          <a:bodyPr/>
          <a:lstStyle/>
          <a:p>
            <a:r>
              <a:rPr lang="en-US" dirty="0"/>
              <a:t>Activities to address Risk Recon results &lt;10</a:t>
            </a:r>
          </a:p>
        </p:txBody>
      </p:sp>
    </p:spTree>
    <p:extLst>
      <p:ext uri="{BB962C8B-B14F-4D97-AF65-F5344CB8AC3E}">
        <p14:creationId xmlns:p14="http://schemas.microsoft.com/office/powerpoint/2010/main" xmlns="" val="3387482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E62644-ECBB-4FDE-91DD-C1DD26260B5E}"/>
              </a:ext>
            </a:extLst>
          </p:cNvPr>
          <p:cNvSpPr>
            <a:spLocks noGrp="1"/>
          </p:cNvSpPr>
          <p:nvPr>
            <p:ph type="title"/>
          </p:nvPr>
        </p:nvSpPr>
        <p:spPr/>
        <p:txBody>
          <a:bodyPr/>
          <a:lstStyle/>
          <a:p>
            <a:r>
              <a:rPr lang="en-US" dirty="0"/>
              <a:t>Recommended actions</a:t>
            </a:r>
          </a:p>
        </p:txBody>
      </p:sp>
      <p:graphicFrame>
        <p:nvGraphicFramePr>
          <p:cNvPr id="5" name="Table 5">
            <a:extLst>
              <a:ext uri="{FF2B5EF4-FFF2-40B4-BE49-F238E27FC236}">
                <a16:creationId xmlns:a16="http://schemas.microsoft.com/office/drawing/2014/main" xmlns="" id="{C9E2238E-EFBD-429C-B0EE-7DB46904AD36}"/>
              </a:ext>
            </a:extLst>
          </p:cNvPr>
          <p:cNvGraphicFramePr>
            <a:graphicFrameLocks noGrp="1"/>
          </p:cNvGraphicFramePr>
          <p:nvPr/>
        </p:nvGraphicFramePr>
        <p:xfrm>
          <a:off x="325435" y="1109632"/>
          <a:ext cx="11531206" cy="5388907"/>
        </p:xfrm>
        <a:graphic>
          <a:graphicData uri="http://schemas.openxmlformats.org/drawingml/2006/table">
            <a:tbl>
              <a:tblPr firstRow="1" bandRow="1">
                <a:tableStyleId>{5C22544A-7EE6-4342-B048-85BDC9FD1C3A}</a:tableStyleId>
              </a:tblPr>
              <a:tblGrid>
                <a:gridCol w="2387206">
                  <a:extLst>
                    <a:ext uri="{9D8B030D-6E8A-4147-A177-3AD203B41FA5}">
                      <a16:colId xmlns:a16="http://schemas.microsoft.com/office/drawing/2014/main" xmlns="" val="4243165413"/>
                    </a:ext>
                  </a:extLst>
                </a:gridCol>
                <a:gridCol w="9144000">
                  <a:extLst>
                    <a:ext uri="{9D8B030D-6E8A-4147-A177-3AD203B41FA5}">
                      <a16:colId xmlns:a16="http://schemas.microsoft.com/office/drawing/2014/main" xmlns="" val="1440286621"/>
                    </a:ext>
                  </a:extLst>
                </a:gridCol>
              </a:tblGrid>
              <a:tr h="344234">
                <a:tc>
                  <a:txBody>
                    <a:bodyPr/>
                    <a:lstStyle/>
                    <a:p>
                      <a:r>
                        <a:rPr lang="en-US" dirty="0"/>
                        <a:t>Area</a:t>
                      </a:r>
                    </a:p>
                  </a:txBody>
                  <a:tcPr/>
                </a:tc>
                <a:tc>
                  <a:txBody>
                    <a:bodyPr/>
                    <a:lstStyle/>
                    <a:p>
                      <a:r>
                        <a:rPr lang="en-US" dirty="0"/>
                        <a:t>Our Actions</a:t>
                      </a:r>
                    </a:p>
                  </a:txBody>
                  <a:tcPr/>
                </a:tc>
                <a:extLst>
                  <a:ext uri="{0D108BD9-81ED-4DB2-BD59-A6C34878D82A}">
                    <a16:rowId xmlns:a16="http://schemas.microsoft.com/office/drawing/2014/main" xmlns="" val="45726065"/>
                  </a:ext>
                </a:extLst>
              </a:tr>
              <a:tr h="688469">
                <a:tc>
                  <a:txBody>
                    <a:bodyPr/>
                    <a:lstStyle/>
                    <a:p>
                      <a:r>
                        <a:rPr lang="en-US" sz="1400" dirty="0"/>
                        <a:t>Software Patching</a:t>
                      </a:r>
                    </a:p>
                    <a:p>
                      <a:endParaRPr lang="en-US" sz="1400" dirty="0"/>
                    </a:p>
                    <a:p>
                      <a:endParaRPr lang="en-US" sz="1400" dirty="0"/>
                    </a:p>
                  </a:txBody>
                  <a:tcPr/>
                </a:tc>
                <a:tc>
                  <a:txBody>
                    <a:bodyPr/>
                    <a:lstStyle/>
                    <a:p>
                      <a:pPr marL="0" indent="0">
                        <a:buFont typeface="Arial" panose="020B0604020202020204" pitchFamily="34" charset="0"/>
                        <a:buNone/>
                      </a:pPr>
                      <a:r>
                        <a:rPr lang="en-US" sz="1400" dirty="0"/>
                        <a:t>Address the patching of the servers by using the Qualys Vulnerability Management toolset for reporting and driving the compliance management through frequent vulnerability management meetings. </a:t>
                      </a:r>
                    </a:p>
                  </a:txBody>
                  <a:tcPr/>
                </a:tc>
                <a:extLst>
                  <a:ext uri="{0D108BD9-81ED-4DB2-BD59-A6C34878D82A}">
                    <a16:rowId xmlns:a16="http://schemas.microsoft.com/office/drawing/2014/main" xmlns="" val="3779755864"/>
                  </a:ext>
                </a:extLst>
              </a:tr>
              <a:tr h="487665">
                <a:tc>
                  <a:txBody>
                    <a:bodyPr/>
                    <a:lstStyle/>
                    <a:p>
                      <a:r>
                        <a:rPr lang="en-US" sz="1400" dirty="0"/>
                        <a:t>Application Security</a:t>
                      </a:r>
                    </a:p>
                    <a:p>
                      <a:endParaRPr lang="en-US" sz="1400" dirty="0"/>
                    </a:p>
                  </a:txBody>
                  <a:tcPr/>
                </a:tc>
                <a:tc>
                  <a:txBody>
                    <a:bodyPr/>
                    <a:lstStyle/>
                    <a:p>
                      <a:r>
                        <a:rPr lang="en-US" sz="1400" dirty="0"/>
                        <a:t>The system owners to apply the 2FA.</a:t>
                      </a:r>
                      <a:r>
                        <a:rPr lang="en-US" sz="1400" b="0" i="0" kern="1200" dirty="0">
                          <a:solidFill>
                            <a:schemeClr val="dk1"/>
                          </a:solidFill>
                          <a:effectLst/>
                          <a:latin typeface="+mn-lt"/>
                          <a:ea typeface="+mn-ea"/>
                          <a:cs typeface="+mn-cs"/>
                        </a:rPr>
                        <a:t> </a:t>
                      </a:r>
                    </a:p>
                    <a:p>
                      <a:r>
                        <a:rPr lang="en-US" sz="1400" b="0" i="0" kern="1200" dirty="0">
                          <a:solidFill>
                            <a:schemeClr val="dk1"/>
                          </a:solidFill>
                          <a:effectLst/>
                          <a:latin typeface="+mn-lt"/>
                          <a:ea typeface="+mn-ea"/>
                          <a:cs typeface="+mn-cs"/>
                        </a:rPr>
                        <a:t>System  owners to install  all missing HTTP security headers.</a:t>
                      </a:r>
                      <a:endParaRPr lang="en-US" sz="1400" dirty="0"/>
                    </a:p>
                  </a:txBody>
                  <a:tcPr/>
                </a:tc>
                <a:extLst>
                  <a:ext uri="{0D108BD9-81ED-4DB2-BD59-A6C34878D82A}">
                    <a16:rowId xmlns:a16="http://schemas.microsoft.com/office/drawing/2014/main" xmlns="" val="116075869"/>
                  </a:ext>
                </a:extLst>
              </a:tr>
              <a:tr h="1491683">
                <a:tc>
                  <a:txBody>
                    <a:bodyPr/>
                    <a:lstStyle/>
                    <a:p>
                      <a:r>
                        <a:rPr lang="en-US" sz="1400" dirty="0"/>
                        <a:t>Web Encryption</a:t>
                      </a:r>
                    </a:p>
                    <a:p>
                      <a:endParaRPr lang="en-US" sz="1400" dirty="0"/>
                    </a:p>
                  </a:txBody>
                  <a:tcPr/>
                </a:tc>
                <a:tc>
                  <a:txBody>
                    <a:bodyPr/>
                    <a:lstStyle/>
                    <a:p>
                      <a:r>
                        <a:rPr lang="en-US" sz="1400" kern="1200" dirty="0">
                          <a:solidFill>
                            <a:schemeClr val="dk1"/>
                          </a:solidFill>
                          <a:latin typeface="+mn-lt"/>
                          <a:ea typeface="+mn-ea"/>
                          <a:cs typeface="+mn-cs"/>
                        </a:rPr>
                        <a:t>Prioritizing remediation of encryption issues for systems labeled.</a:t>
                      </a:r>
                    </a:p>
                    <a:p>
                      <a:r>
                        <a:rPr lang="en-US" sz="1400" kern="1200" dirty="0">
                          <a:solidFill>
                            <a:schemeClr val="dk1"/>
                          </a:solidFill>
                          <a:latin typeface="+mn-lt"/>
                          <a:ea typeface="+mn-ea"/>
                          <a:cs typeface="+mn-cs"/>
                        </a:rPr>
                        <a:t>Replace all expired encryption certificates with certificates that are not expired.</a:t>
                      </a:r>
                    </a:p>
                    <a:p>
                      <a:r>
                        <a:rPr lang="en-US" sz="1400" kern="1200" dirty="0">
                          <a:solidFill>
                            <a:schemeClr val="dk1"/>
                          </a:solidFill>
                          <a:latin typeface="+mn-lt"/>
                          <a:ea typeface="+mn-ea"/>
                          <a:cs typeface="+mn-cs"/>
                        </a:rPr>
                        <a:t>Implement processes to ensure that encryption certificates are replaced before expiration.</a:t>
                      </a:r>
                    </a:p>
                    <a:p>
                      <a:r>
                        <a:rPr lang="en-US" sz="1400" kern="1200" dirty="0">
                          <a:solidFill>
                            <a:schemeClr val="dk1"/>
                          </a:solidFill>
                          <a:latin typeface="+mn-lt"/>
                          <a:ea typeface="+mn-ea"/>
                          <a:cs typeface="+mn-cs"/>
                        </a:rPr>
                        <a:t>Replace the X.509 encryption certificate with one that has a valid subject name for the system to which the certificate is deployed.</a:t>
                      </a:r>
                    </a:p>
                    <a:p>
                      <a:r>
                        <a:rPr lang="en-US" sz="1400" kern="1200" dirty="0">
                          <a:solidFill>
                            <a:schemeClr val="dk1"/>
                          </a:solidFill>
                          <a:latin typeface="+mn-lt"/>
                          <a:ea typeface="+mn-ea"/>
                          <a:cs typeface="+mn-cs"/>
                        </a:rPr>
                        <a:t>Disable support for insecure protocols such as SSLv2, SSLv3, TLS 1.0, and TLS 1.1. </a:t>
                      </a:r>
                    </a:p>
                  </a:txBody>
                  <a:tcPr/>
                </a:tc>
                <a:extLst>
                  <a:ext uri="{0D108BD9-81ED-4DB2-BD59-A6C34878D82A}">
                    <a16:rowId xmlns:a16="http://schemas.microsoft.com/office/drawing/2014/main" xmlns="" val="1997387541"/>
                  </a:ext>
                </a:extLst>
              </a:tr>
              <a:tr h="573121">
                <a:tc>
                  <a:txBody>
                    <a:bodyPr/>
                    <a:lstStyle/>
                    <a:p>
                      <a:r>
                        <a:rPr lang="en-US" sz="1400" dirty="0"/>
                        <a:t>E-mail Security</a:t>
                      </a:r>
                    </a:p>
                    <a:p>
                      <a:endParaRPr lang="en-US" sz="1400" dirty="0"/>
                    </a:p>
                  </a:txBody>
                  <a:tcPr/>
                </a:tc>
                <a:tc>
                  <a:txBody>
                    <a:bodyPr/>
                    <a:lstStyle/>
                    <a:p>
                      <a:r>
                        <a:rPr lang="en-US" sz="1400" dirty="0"/>
                        <a:t>The riskcon assessment  reported on email domains that the WCG (Be-I) is not responsible for. The security team will attempt to engage the domain owners where possible. According to the report these email domains are linked to the Western Cape Government brand.</a:t>
                      </a:r>
                    </a:p>
                  </a:txBody>
                  <a:tcPr/>
                </a:tc>
                <a:extLst>
                  <a:ext uri="{0D108BD9-81ED-4DB2-BD59-A6C34878D82A}">
                    <a16:rowId xmlns:a16="http://schemas.microsoft.com/office/drawing/2014/main" xmlns="" val="1963345716"/>
                  </a:ext>
                </a:extLst>
              </a:tr>
              <a:tr h="688469">
                <a:tc>
                  <a:txBody>
                    <a:bodyPr/>
                    <a:lstStyle/>
                    <a:p>
                      <a:r>
                        <a:rPr lang="en-US" sz="1400" dirty="0"/>
                        <a:t>Systems Hosting</a:t>
                      </a:r>
                    </a:p>
                    <a:p>
                      <a:endParaRPr lang="en-US" sz="1400" dirty="0"/>
                    </a:p>
                    <a:p>
                      <a:endParaRPr lang="en-US" sz="1400" dirty="0"/>
                    </a:p>
                  </a:txBody>
                  <a:tcPr/>
                </a:tc>
                <a:tc>
                  <a:txBody>
                    <a:bodyPr/>
                    <a:lstStyle/>
                    <a:p>
                      <a:r>
                        <a:rPr lang="en-US" sz="1400" dirty="0"/>
                        <a:t>Continue to drive the policy condition of having unique IP addresses per server and not to used shared IP addresses or accounts.</a:t>
                      </a:r>
                    </a:p>
                  </a:txBody>
                  <a:tcPr/>
                </a:tc>
                <a:extLst>
                  <a:ext uri="{0D108BD9-81ED-4DB2-BD59-A6C34878D82A}">
                    <a16:rowId xmlns:a16="http://schemas.microsoft.com/office/drawing/2014/main" xmlns="" val="1920275081"/>
                  </a:ext>
                </a:extLst>
              </a:tr>
              <a:tr h="818744">
                <a:tc>
                  <a:txBody>
                    <a:bodyPr/>
                    <a:lstStyle/>
                    <a:p>
                      <a:r>
                        <a:rPr lang="en-US" sz="1400" dirty="0"/>
                        <a:t>User Awareness Campaign</a:t>
                      </a:r>
                    </a:p>
                    <a:p>
                      <a:endParaRPr lang="en-US" sz="1400" dirty="0"/>
                    </a:p>
                  </a:txBody>
                  <a:tcPr/>
                </a:tc>
                <a:tc>
                  <a:txBody>
                    <a:bodyPr/>
                    <a:lstStyle/>
                    <a:p>
                      <a:r>
                        <a:rPr lang="en-US" sz="1400" dirty="0"/>
                        <a:t>Continue with security awareness strategy via the Knowb4 platform.  </a:t>
                      </a:r>
                    </a:p>
                  </a:txBody>
                  <a:tcPr/>
                </a:tc>
                <a:extLst>
                  <a:ext uri="{0D108BD9-81ED-4DB2-BD59-A6C34878D82A}">
                    <a16:rowId xmlns:a16="http://schemas.microsoft.com/office/drawing/2014/main" xmlns="" val="2846893113"/>
                  </a:ext>
                </a:extLst>
              </a:tr>
            </a:tbl>
          </a:graphicData>
        </a:graphic>
      </p:graphicFrame>
    </p:spTree>
    <p:extLst>
      <p:ext uri="{BB962C8B-B14F-4D97-AF65-F5344CB8AC3E}">
        <p14:creationId xmlns:p14="http://schemas.microsoft.com/office/powerpoint/2010/main" xmlns="" val="19360806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BFFF8F-2555-AA6A-BE26-BC922AA37C14}"/>
              </a:ext>
            </a:extLst>
          </p:cNvPr>
          <p:cNvSpPr>
            <a:spLocks noGrp="1"/>
          </p:cNvSpPr>
          <p:nvPr>
            <p:ph type="title"/>
          </p:nvPr>
        </p:nvSpPr>
        <p:spPr/>
        <p:txBody>
          <a:bodyPr/>
          <a:lstStyle/>
          <a:p>
            <a:r>
              <a:rPr lang="en-US" dirty="0"/>
              <a:t>Conclusion</a:t>
            </a:r>
          </a:p>
        </p:txBody>
      </p:sp>
      <p:sp>
        <p:nvSpPr>
          <p:cNvPr id="6" name="TextBox 5">
            <a:extLst>
              <a:ext uri="{FF2B5EF4-FFF2-40B4-BE49-F238E27FC236}">
                <a16:creationId xmlns:a16="http://schemas.microsoft.com/office/drawing/2014/main" xmlns="" id="{9163EBB9-4557-BEB0-DA7A-D7ECD6FF36A2}"/>
              </a:ext>
            </a:extLst>
          </p:cNvPr>
          <p:cNvSpPr txBox="1"/>
          <p:nvPr/>
        </p:nvSpPr>
        <p:spPr>
          <a:xfrm>
            <a:off x="393701" y="1325844"/>
            <a:ext cx="10721009" cy="5093702"/>
          </a:xfrm>
          <a:prstGeom prst="rect">
            <a:avLst/>
          </a:prstGeom>
          <a:noFill/>
        </p:spPr>
        <p:txBody>
          <a:bodyPr wrap="square">
            <a:spAutoFit/>
          </a:bodyPr>
          <a:lstStyle/>
          <a:p>
            <a:pPr marL="179705" marR="0" lvl="1" indent="-179705"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As we embrace digital transformation, the threat attack surface further expands, as new threats are introduced daily.</a:t>
            </a:r>
          </a:p>
          <a:p>
            <a:pPr marL="179705" marR="0" lvl="1" indent="-179705"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Ce-I will continue to strengthen its technical and governance capability through external contracts.</a:t>
            </a:r>
          </a:p>
          <a:p>
            <a:pPr marL="179705" marR="0" lvl="1" indent="-179705"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 The most common threats on the WCG network are malware, phishing, password stealing, and vulnerabilities or weaknesses  related to legacy applications.</a:t>
            </a:r>
          </a:p>
          <a:p>
            <a:pPr marL="179705" marR="0" lvl="1" indent="-179705"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To assist with cybersecurity response, automation will be used to investigate and remediate security events and alerts.</a:t>
            </a:r>
          </a:p>
          <a:p>
            <a:pPr marL="179705" marR="0" lvl="1" indent="-179705" algn="l" defTabSz="914400" rtl="0" eaLnBrk="1" fontAlgn="auto" latinLnBrk="0" hangingPunct="1">
              <a:lnSpc>
                <a:spcPct val="150000"/>
              </a:lnSpc>
              <a:spcBef>
                <a:spcPts val="300"/>
              </a:spcBef>
              <a:spcAft>
                <a:spcPts val="0"/>
              </a:spcAft>
              <a:buClr>
                <a:srgbClr val="002060"/>
              </a:buClr>
              <a:buSzTx/>
              <a:buFontTx/>
              <a:buBlip>
                <a:blip r:embed="rId2"/>
              </a:buBlip>
              <a:tabLst/>
              <a:defRPr/>
            </a:pPr>
            <a:r>
              <a:rPr kumimoji="0" lang="en-US" sz="1800" b="0" i="0" u="none" strike="noStrike" kern="1200" cap="none" spc="0" normalizeH="0" baseline="0" noProof="0" dirty="0">
                <a:ln>
                  <a:noFill/>
                </a:ln>
                <a:solidFill>
                  <a:prstClr val="black"/>
                </a:solidFill>
                <a:effectLst/>
                <a:uLnTx/>
                <a:uFillTx/>
                <a:latin typeface="Century Gothic"/>
                <a:ea typeface="+mn-ea"/>
                <a:cs typeface="+mn-cs"/>
              </a:rPr>
              <a:t>The WCG is not immune to security breaches and people remains the weakest link in the cybersecurity chai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26258783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4864901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EF6075B-0EA3-4A21-8789-2066872797A4}"/>
              </a:ext>
            </a:extLst>
          </p:cNvPr>
          <p:cNvSpPr>
            <a:spLocks noGrp="1"/>
          </p:cNvSpPr>
          <p:nvPr>
            <p:ph type="title"/>
          </p:nvPr>
        </p:nvSpPr>
        <p:spPr>
          <a:xfrm>
            <a:off x="381000" y="370841"/>
            <a:ext cx="11285931" cy="391159"/>
          </a:xfrm>
        </p:spPr>
        <p:txBody>
          <a:bodyPr>
            <a:normAutofit/>
          </a:bodyPr>
          <a:lstStyle/>
          <a:p>
            <a:r>
              <a:rPr lang="en-US" dirty="0">
                <a:solidFill>
                  <a:schemeClr val="tx2"/>
                </a:solidFill>
              </a:rPr>
              <a:t>Broadband 1.0 Programme Goals</a:t>
            </a:r>
          </a:p>
        </p:txBody>
      </p:sp>
      <p:sp>
        <p:nvSpPr>
          <p:cNvPr id="4" name="Slide Number Placeholder 3">
            <a:extLst>
              <a:ext uri="{FF2B5EF4-FFF2-40B4-BE49-F238E27FC236}">
                <a16:creationId xmlns:a16="http://schemas.microsoft.com/office/drawing/2014/main" xmlns="" id="{1E09DF63-1E0C-4797-B9B6-1BCB9645454F}"/>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540" b="0" i="0" u="none" strike="noStrike" kern="1200" cap="none" spc="0" normalizeH="0" baseline="0" noProof="0" smtClean="0">
                <a:ln>
                  <a:noFill/>
                </a:ln>
                <a:solidFill>
                  <a:srgbClr val="1F497D"/>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540" b="0" i="0" u="none" strike="noStrike" kern="1200" cap="none" spc="0" normalizeH="0" baseline="0" noProof="0" dirty="0">
              <a:ln>
                <a:noFill/>
              </a:ln>
              <a:solidFill>
                <a:srgbClr val="1F497D"/>
              </a:solidFill>
              <a:effectLst/>
              <a:uLnTx/>
              <a:uFillTx/>
              <a:latin typeface="Century Gothic" pitchFamily="34" charset="0"/>
              <a:ea typeface="+mn-ea"/>
              <a:cs typeface="+mn-cs"/>
            </a:endParaRPr>
          </a:p>
        </p:txBody>
      </p:sp>
      <p:pic>
        <p:nvPicPr>
          <p:cNvPr id="6" name="Picture 5">
            <a:extLst>
              <a:ext uri="{FF2B5EF4-FFF2-40B4-BE49-F238E27FC236}">
                <a16:creationId xmlns:a16="http://schemas.microsoft.com/office/drawing/2014/main" xmlns="" id="{4892FA30-13A2-48EB-BD91-1B1D5AEE6DA0}"/>
              </a:ext>
            </a:extLst>
          </p:cNvPr>
          <p:cNvPicPr>
            <a:picLocks noChangeAspect="1"/>
          </p:cNvPicPr>
          <p:nvPr/>
        </p:nvPicPr>
        <p:blipFill>
          <a:blip r:embed="rId3" cstate="print"/>
          <a:stretch>
            <a:fillRect/>
          </a:stretch>
        </p:blipFill>
        <p:spPr>
          <a:xfrm>
            <a:off x="6995409" y="1371600"/>
            <a:ext cx="4743556" cy="4990714"/>
          </a:xfrm>
          <a:prstGeom prst="round2DiagRect">
            <a:avLst>
              <a:gd name="adj1" fmla="val 16667"/>
              <a:gd name="adj2" fmla="val 0"/>
            </a:avLst>
          </a:prstGeom>
          <a:ln w="12700" cap="sq">
            <a:solidFill>
              <a:schemeClr val="tx2"/>
            </a:solidFill>
            <a:miter lim="800000"/>
          </a:ln>
          <a:effectLst/>
        </p:spPr>
      </p:pic>
      <p:sp>
        <p:nvSpPr>
          <p:cNvPr id="8" name="Text Placeholder 6">
            <a:extLst>
              <a:ext uri="{FF2B5EF4-FFF2-40B4-BE49-F238E27FC236}">
                <a16:creationId xmlns:a16="http://schemas.microsoft.com/office/drawing/2014/main" xmlns="" id="{B637EDCC-983D-4D46-A279-7BA3ECB9AD68}"/>
              </a:ext>
            </a:extLst>
          </p:cNvPr>
          <p:cNvSpPr txBox="1">
            <a:spLocks/>
          </p:cNvSpPr>
          <p:nvPr/>
        </p:nvSpPr>
        <p:spPr>
          <a:xfrm>
            <a:off x="304800" y="1381593"/>
            <a:ext cx="6295361" cy="4990714"/>
          </a:xfrm>
          <a:prstGeom prst="rect">
            <a:avLst/>
          </a:prstGeom>
        </p:spPr>
        <p:txBody>
          <a:bodyPr wrap="square" lIns="0" tIns="0" rIns="0" bIns="0">
            <a:normAutofit fontScale="92500"/>
          </a:bodyPr>
          <a:lstStyle>
            <a:lvl1pPr marL="0">
              <a:defRPr b="0" i="0">
                <a:solidFill>
                  <a:schemeClr val="tx1"/>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353416" marR="0" lvl="0" indent="-353416"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SITA, together with partner Liquid Intelligent Technologies (LIT), is rolling out a ten-year broadband </a:t>
            </a:r>
            <a:r>
              <a:rPr kumimoji="0" lang="en-US" sz="1800" b="0" i="0" u="none" strike="noStrike" kern="0" cap="none" spc="0" normalizeH="0" baseline="0" noProof="0" dirty="0" err="1">
                <a:ln>
                  <a:noFill/>
                </a:ln>
                <a:solidFill>
                  <a:prstClr val="black"/>
                </a:solidFill>
                <a:effectLst/>
                <a:uLnTx/>
                <a:uFillTx/>
                <a:latin typeface="Calibri"/>
                <a:ea typeface="+mn-ea"/>
                <a:cs typeface="+mn-cs"/>
              </a:rPr>
              <a:t>programme</a:t>
            </a:r>
            <a:r>
              <a:rPr kumimoji="0" lang="en-US" sz="1800" b="0" i="0" u="none" strike="noStrike" kern="0" cap="none" spc="0" normalizeH="0" baseline="0" noProof="0" dirty="0">
                <a:ln>
                  <a:noFill/>
                </a:ln>
                <a:solidFill>
                  <a:prstClr val="black"/>
                </a:solidFill>
                <a:effectLst/>
                <a:uLnTx/>
                <a:uFillTx/>
                <a:latin typeface="Calibri"/>
                <a:ea typeface="+mn-ea"/>
                <a:cs typeface="+mn-cs"/>
              </a:rPr>
              <a:t> on behalf of the WCG.</a:t>
            </a:r>
          </a:p>
          <a:p>
            <a:pPr marL="353416" marR="0" lvl="0" indent="-353416"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The scope of the </a:t>
            </a:r>
            <a:r>
              <a:rPr kumimoji="0" lang="en-US" sz="1800" b="0" i="0" u="none" strike="noStrike" kern="0" cap="none" spc="0" normalizeH="0" baseline="0" noProof="0" dirty="0" err="1">
                <a:ln>
                  <a:noFill/>
                </a:ln>
                <a:solidFill>
                  <a:prstClr val="black"/>
                </a:solidFill>
                <a:effectLst/>
                <a:uLnTx/>
                <a:uFillTx/>
                <a:latin typeface="Calibri"/>
                <a:ea typeface="+mn-ea"/>
                <a:cs typeface="+mn-cs"/>
              </a:rPr>
              <a:t>programme</a:t>
            </a:r>
            <a:r>
              <a:rPr kumimoji="0" lang="en-US" sz="1800" b="0" i="0" u="none" strike="noStrike" kern="0" cap="none" spc="0" normalizeH="0" baseline="0" noProof="0" dirty="0">
                <a:ln>
                  <a:noFill/>
                </a:ln>
                <a:solidFill>
                  <a:prstClr val="black"/>
                </a:solidFill>
                <a:effectLst/>
                <a:uLnTx/>
                <a:uFillTx/>
                <a:latin typeface="Calibri"/>
                <a:ea typeface="+mn-ea"/>
                <a:cs typeface="+mn-cs"/>
              </a:rPr>
              <a:t> includes WCG corporate sites, schools, healthcare institutions, libraries, Cape Access </a:t>
            </a:r>
            <a:r>
              <a:rPr kumimoji="0" lang="en-US" sz="1800" b="0" i="0" u="none" strike="noStrike" kern="0" cap="none" spc="0" normalizeH="0" baseline="0" noProof="0" dirty="0" err="1">
                <a:ln>
                  <a:noFill/>
                </a:ln>
                <a:solidFill>
                  <a:prstClr val="black"/>
                </a:solidFill>
                <a:effectLst/>
                <a:uLnTx/>
                <a:uFillTx/>
                <a:latin typeface="Calibri"/>
                <a:ea typeface="+mn-ea"/>
                <a:cs typeface="+mn-cs"/>
              </a:rPr>
              <a:t>Centres</a:t>
            </a:r>
            <a:r>
              <a:rPr kumimoji="0" lang="en-US" sz="1800" b="0" i="0" u="none" strike="noStrike" kern="0" cap="none" spc="0" normalizeH="0" baseline="0" noProof="0" dirty="0">
                <a:ln>
                  <a:noFill/>
                </a:ln>
                <a:solidFill>
                  <a:prstClr val="black"/>
                </a:solidFill>
                <a:effectLst/>
                <a:uLnTx/>
                <a:uFillTx/>
                <a:latin typeface="Calibri"/>
                <a:ea typeface="+mn-ea"/>
                <a:cs typeface="+mn-cs"/>
              </a:rPr>
              <a:t> as well as satellite administrative offices and depots of the WCG.</a:t>
            </a:r>
          </a:p>
          <a:p>
            <a:pPr marL="353416" marR="0" lvl="0" indent="-353416"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The telecommunications network is designed and built to carry data, voice and video communications and is capable of providing public Internet access through Wi-Fi hotspots on the same infrastructure.</a:t>
            </a:r>
          </a:p>
          <a:p>
            <a:pPr marL="353416" marR="0" lvl="0" indent="-353416"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prstClr val="black"/>
                </a:solidFill>
                <a:effectLst/>
                <a:uLnTx/>
                <a:uFillTx/>
                <a:latin typeface="Calibri"/>
                <a:ea typeface="+mn-ea"/>
                <a:cs typeface="+mn-cs"/>
              </a:rPr>
              <a:t>The network infrastructure can provide access to government clients as well as businesses to better serve our citizens. </a:t>
            </a:r>
          </a:p>
          <a:p>
            <a:pPr marL="353416" marR="0" lvl="0" indent="-353416"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21426797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81000"/>
            <a:ext cx="10896600" cy="388450"/>
          </a:xfrm>
        </p:spPr>
        <p:txBody>
          <a:bodyPr>
            <a:noAutofit/>
          </a:bodyPr>
          <a:lstStyle/>
          <a:p>
            <a:r>
              <a:rPr lang="en-ZA" altLang="en-US" dirty="0">
                <a:solidFill>
                  <a:schemeClr val="tx2"/>
                </a:solidFill>
              </a:rPr>
              <a:t>Broadband Business Value</a:t>
            </a:r>
            <a:endParaRPr lang="en-US" dirty="0">
              <a:solidFill>
                <a:schemeClr val="tx2"/>
              </a:solidFill>
            </a:endParaRPr>
          </a:p>
        </p:txBody>
      </p:sp>
      <p:sp>
        <p:nvSpPr>
          <p:cNvPr id="4" name="Slide Number Placeholder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540" b="0" i="0" u="none" strike="noStrike" kern="1200" cap="none" spc="0" normalizeH="0" baseline="0" noProof="0" smtClean="0">
                <a:ln>
                  <a:noFill/>
                </a:ln>
                <a:solidFill>
                  <a:srgbClr val="1F497D"/>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540" b="0" i="0" u="none" strike="noStrike" kern="1200" cap="none" spc="0" normalizeH="0" baseline="0" noProof="0" dirty="0">
              <a:ln>
                <a:noFill/>
              </a:ln>
              <a:solidFill>
                <a:srgbClr val="1F497D"/>
              </a:solidFill>
              <a:effectLst/>
              <a:uLnTx/>
              <a:uFillTx/>
              <a:latin typeface="Century Gothic" pitchFamily="34" charset="0"/>
              <a:ea typeface="+mn-ea"/>
              <a:cs typeface="+mn-cs"/>
            </a:endParaRPr>
          </a:p>
        </p:txBody>
      </p:sp>
      <p:sp>
        <p:nvSpPr>
          <p:cNvPr id="7" name="Subtitle 2">
            <a:extLst>
              <a:ext uri="{FF2B5EF4-FFF2-40B4-BE49-F238E27FC236}">
                <a16:creationId xmlns:a16="http://schemas.microsoft.com/office/drawing/2014/main" xmlns="" id="{D82F8776-8C58-4495-B493-FE738DE84BB9}"/>
              </a:ext>
            </a:extLst>
          </p:cNvPr>
          <p:cNvSpPr>
            <a:spLocks noGrp="1"/>
          </p:cNvSpPr>
          <p:nvPr>
            <p:ph type="body" sz="quarter" idx="13"/>
          </p:nvPr>
        </p:nvSpPr>
        <p:spPr bwMode="auto">
          <a:xfrm>
            <a:off x="457201" y="1418474"/>
            <a:ext cx="5638799" cy="5242994"/>
          </a:xfrm>
          <a:solidFill>
            <a:schemeClr val="bg1">
              <a:lumMod val="85000"/>
            </a:schemeClr>
          </a:solidFill>
          <a:ln>
            <a:solidFill>
              <a:schemeClr val="accent1"/>
            </a:solidFill>
          </a:ln>
        </p:spPr>
        <p:txBody>
          <a:bodyPr vert="horz" wrap="square" lIns="41588" tIns="20795" rIns="41588" bIns="20795" numCol="1" rtlCol="0" anchor="t" anchorCtr="0" compatLnSpc="1">
            <a:prstTxWarp prst="textNoShape">
              <a:avLst/>
            </a:prstTxWarp>
            <a:noAutofit/>
          </a:bodyPr>
          <a:lstStyle/>
          <a:p>
            <a:pPr marL="446755" lvl="2" indent="-285750">
              <a:lnSpc>
                <a:spcPct val="150000"/>
              </a:lnSpc>
              <a:buClr>
                <a:srgbClr val="003399"/>
              </a:buClr>
              <a:buSzPct val="120000"/>
              <a:buFont typeface="Arial" panose="020B0604020202020204" pitchFamily="34" charset="0"/>
              <a:buChar char="•"/>
            </a:pPr>
            <a:r>
              <a:rPr lang="en-ZA" altLang="en-US" sz="1600" dirty="0">
                <a:solidFill>
                  <a:schemeClr val="tx1"/>
                </a:solidFill>
              </a:rPr>
              <a:t>High network speed that improved productivity - underpins Digital Transformation</a:t>
            </a:r>
          </a:p>
          <a:p>
            <a:pPr marL="771520" lvl="4" indent="-380997">
              <a:lnSpc>
                <a:spcPct val="150000"/>
              </a:lnSpc>
              <a:buClr>
                <a:srgbClr val="003399"/>
              </a:buClr>
              <a:buFont typeface="Courier New" panose="02070309020205020404" pitchFamily="49" charset="0"/>
              <a:buChar char="o"/>
            </a:pPr>
            <a:r>
              <a:rPr lang="en-ZA" altLang="en-US" sz="1600" dirty="0">
                <a:solidFill>
                  <a:schemeClr val="tx1"/>
                </a:solidFill>
              </a:rPr>
              <a:t>Improved service to our citizens</a:t>
            </a:r>
          </a:p>
          <a:p>
            <a:pPr marL="446755" lvl="2" indent="-285750">
              <a:lnSpc>
                <a:spcPct val="150000"/>
              </a:lnSpc>
              <a:buClr>
                <a:srgbClr val="003399"/>
              </a:buClr>
              <a:buSzPct val="120000"/>
              <a:buFont typeface="Arial" panose="020B0604020202020204" pitchFamily="34" charset="0"/>
              <a:buChar char="•"/>
            </a:pPr>
            <a:r>
              <a:rPr lang="en-ZA" altLang="en-US" sz="1600" dirty="0">
                <a:solidFill>
                  <a:schemeClr val="tx1"/>
                </a:solidFill>
              </a:rPr>
              <a:t>Enabled the migration of 90% of WCG workloads to cloud, thereby:</a:t>
            </a:r>
          </a:p>
          <a:p>
            <a:pPr marL="771520" lvl="4" indent="-380997">
              <a:lnSpc>
                <a:spcPct val="150000"/>
              </a:lnSpc>
              <a:buClr>
                <a:srgbClr val="003399"/>
              </a:buClr>
              <a:buFont typeface="Courier New" panose="02070309020205020404" pitchFamily="49" charset="0"/>
              <a:buChar char="o"/>
            </a:pPr>
            <a:r>
              <a:rPr lang="en-ZA" altLang="en-US" sz="1600" dirty="0">
                <a:solidFill>
                  <a:schemeClr val="tx1"/>
                </a:solidFill>
              </a:rPr>
              <a:t>Improving access to our applications from anywhere at anytime – Promotes remote working</a:t>
            </a:r>
          </a:p>
          <a:p>
            <a:pPr marL="771520" lvl="4" indent="-380997">
              <a:lnSpc>
                <a:spcPct val="150000"/>
              </a:lnSpc>
              <a:buClr>
                <a:srgbClr val="003399"/>
              </a:buClr>
              <a:buFont typeface="Courier New" panose="02070309020205020404" pitchFamily="49" charset="0"/>
              <a:buChar char="o"/>
            </a:pPr>
            <a:r>
              <a:rPr lang="en-ZA" altLang="en-US" sz="1600" dirty="0">
                <a:solidFill>
                  <a:schemeClr val="tx1"/>
                </a:solidFill>
              </a:rPr>
              <a:t>Improved uptime of applications </a:t>
            </a:r>
          </a:p>
          <a:p>
            <a:pPr marL="771520" lvl="4" indent="-380997">
              <a:lnSpc>
                <a:spcPct val="150000"/>
              </a:lnSpc>
              <a:buClr>
                <a:srgbClr val="003399"/>
              </a:buClr>
              <a:buFont typeface="Courier New" panose="02070309020205020404" pitchFamily="49" charset="0"/>
              <a:buChar char="o"/>
            </a:pPr>
            <a:r>
              <a:rPr lang="en-ZA" altLang="en-US" sz="1600" dirty="0">
                <a:solidFill>
                  <a:schemeClr val="tx1"/>
                </a:solidFill>
              </a:rPr>
              <a:t>Improved Service Continuity</a:t>
            </a:r>
          </a:p>
          <a:p>
            <a:pPr marL="771520" lvl="4" indent="-380997">
              <a:lnSpc>
                <a:spcPct val="150000"/>
              </a:lnSpc>
              <a:buClr>
                <a:srgbClr val="003399"/>
              </a:buClr>
              <a:buFont typeface="Courier New" panose="02070309020205020404" pitchFamily="49" charset="0"/>
              <a:buChar char="o"/>
            </a:pPr>
            <a:r>
              <a:rPr lang="en-ZA" altLang="en-US" sz="1600" dirty="0">
                <a:solidFill>
                  <a:schemeClr val="tx1"/>
                </a:solidFill>
              </a:rPr>
              <a:t>Improved information security</a:t>
            </a:r>
          </a:p>
          <a:p>
            <a:pPr marL="446755" lvl="2" indent="-285750">
              <a:lnSpc>
                <a:spcPct val="150000"/>
              </a:lnSpc>
              <a:buClr>
                <a:srgbClr val="003399"/>
              </a:buClr>
              <a:buSzPct val="120000"/>
              <a:buFont typeface="Arial" panose="020B0604020202020204" pitchFamily="34" charset="0"/>
              <a:buChar char="•"/>
            </a:pPr>
            <a:r>
              <a:rPr lang="en-ZA" altLang="en-US" sz="1600" dirty="0">
                <a:solidFill>
                  <a:schemeClr val="tx1"/>
                </a:solidFill>
              </a:rPr>
              <a:t>Financial cost efficiencies through economies of scale (WCG connectivity and VOIP) </a:t>
            </a:r>
          </a:p>
          <a:p>
            <a:pPr marL="446755" lvl="2" indent="-285750">
              <a:lnSpc>
                <a:spcPct val="150000"/>
              </a:lnSpc>
              <a:buClr>
                <a:srgbClr val="003399"/>
              </a:buClr>
              <a:buSzPct val="120000"/>
              <a:buFont typeface="Arial" panose="020B0604020202020204" pitchFamily="34" charset="0"/>
              <a:buChar char="•"/>
            </a:pPr>
            <a:r>
              <a:rPr lang="en-ZA" altLang="en-US" sz="1600" dirty="0">
                <a:solidFill>
                  <a:schemeClr val="tx1"/>
                </a:solidFill>
              </a:rPr>
              <a:t>Enabled Public Wi-Fi Access to Western Cape residents</a:t>
            </a:r>
          </a:p>
          <a:p>
            <a:pPr marL="270692" lvl="3">
              <a:lnSpc>
                <a:spcPct val="150000"/>
              </a:lnSpc>
              <a:buClr>
                <a:srgbClr val="003399"/>
              </a:buClr>
            </a:pPr>
            <a:endParaRPr lang="en-ZA" altLang="en-US" sz="1400" dirty="0">
              <a:solidFill>
                <a:schemeClr val="tx2"/>
              </a:solidFill>
            </a:endParaRPr>
          </a:p>
        </p:txBody>
      </p:sp>
      <p:sp>
        <p:nvSpPr>
          <p:cNvPr id="5" name="Subtitle 2">
            <a:extLst>
              <a:ext uri="{FF2B5EF4-FFF2-40B4-BE49-F238E27FC236}">
                <a16:creationId xmlns:a16="http://schemas.microsoft.com/office/drawing/2014/main" xmlns="" id="{81736899-612E-4F60-9B73-C854516D9661}"/>
              </a:ext>
            </a:extLst>
          </p:cNvPr>
          <p:cNvSpPr txBox="1">
            <a:spLocks/>
          </p:cNvSpPr>
          <p:nvPr/>
        </p:nvSpPr>
        <p:spPr bwMode="auto">
          <a:xfrm>
            <a:off x="6400800" y="1418474"/>
            <a:ext cx="5334000" cy="5220258"/>
          </a:xfrm>
          <a:prstGeom prst="rect">
            <a:avLst/>
          </a:prstGeom>
          <a:solidFill>
            <a:schemeClr val="bg1">
              <a:lumMod val="85000"/>
            </a:schemeClr>
          </a:solidFill>
          <a:ln>
            <a:solidFill>
              <a:schemeClr val="accent1"/>
            </a:solidFill>
          </a:ln>
        </p:spPr>
        <p:txBody>
          <a:bodyPr vert="horz" wrap="square" lIns="41588" tIns="20795" rIns="41588" bIns="20795" numCol="1" rtlCol="0" anchor="t" anchorCtr="0" compatLnSpc="1">
            <a:prstTxWarp prst="textNoShape">
              <a:avLst/>
            </a:prstTxWarp>
            <a:noAutofit/>
          </a:bodyPr>
          <a:lstStyle>
            <a:lvl1pPr marL="0">
              <a:defRPr sz="1080" b="1" i="1">
                <a:solidFill>
                  <a:schemeClr val="bg1">
                    <a:lumMod val="50000"/>
                  </a:schemeClr>
                </a:solidFill>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446755" marR="0" lvl="2" indent="-285750" algn="l" defTabSz="914400" rtl="0" eaLnBrk="1" fontAlgn="auto" latinLnBrk="0" hangingPunct="1">
              <a:lnSpc>
                <a:spcPct val="150000"/>
              </a:lnSpc>
              <a:spcBef>
                <a:spcPts val="0"/>
              </a:spcBef>
              <a:spcAft>
                <a:spcPts val="0"/>
              </a:spcAft>
              <a:buClr>
                <a:srgbClr val="003399"/>
              </a:buClr>
              <a:buSzPct val="120000"/>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Calibri"/>
                <a:ea typeface="+mn-ea"/>
                <a:cs typeface="+mn-cs"/>
              </a:rPr>
              <a:t>Ability to collaborate via Teams</a:t>
            </a:r>
          </a:p>
          <a:p>
            <a:pPr marL="771520" marR="0" lvl="4" indent="-380997" algn="l" defTabSz="914400" rtl="0" eaLnBrk="1" fontAlgn="auto" latinLnBrk="0" hangingPunct="1">
              <a:lnSpc>
                <a:spcPct val="150000"/>
              </a:lnSpc>
              <a:spcBef>
                <a:spcPts val="0"/>
              </a:spcBef>
              <a:spcAft>
                <a:spcPts val="0"/>
              </a:spcAft>
              <a:buClr>
                <a:srgbClr val="003399"/>
              </a:buClr>
              <a:buSzTx/>
              <a:buFont typeface="Courier New" panose="02070309020205020404" pitchFamily="49" charset="0"/>
              <a:buChar char="o"/>
              <a:tabLst/>
              <a:defRPr/>
            </a:pPr>
            <a:r>
              <a:rPr kumimoji="0" lang="en-ZA" altLang="en-US" sz="1600" b="0" i="0" u="none" strike="noStrike" kern="1200" cap="none" spc="0" normalizeH="0" baseline="0" noProof="0" dirty="0">
                <a:ln>
                  <a:noFill/>
                </a:ln>
                <a:solidFill>
                  <a:prstClr val="black"/>
                </a:solidFill>
                <a:effectLst/>
                <a:uLnTx/>
                <a:uFillTx/>
                <a:latin typeface="Calibri"/>
                <a:ea typeface="+mn-ea"/>
                <a:cs typeface="+mn-cs"/>
              </a:rPr>
              <a:t>WCG was one of the first entities nationally to seamlessly switch to MS Teams at outbreak of the COVID-19 pandemic </a:t>
            </a:r>
          </a:p>
          <a:p>
            <a:pPr marL="446755" marR="0" lvl="2" indent="-285750" algn="l" defTabSz="914400" rtl="0" eaLnBrk="1" fontAlgn="auto" latinLnBrk="0" hangingPunct="1">
              <a:lnSpc>
                <a:spcPct val="150000"/>
              </a:lnSpc>
              <a:spcBef>
                <a:spcPts val="0"/>
              </a:spcBef>
              <a:spcAft>
                <a:spcPts val="0"/>
              </a:spcAft>
              <a:buClr>
                <a:srgbClr val="003399"/>
              </a:buClr>
              <a:buSzPct val="120000"/>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Calibri"/>
                <a:ea typeface="+mn-ea"/>
                <a:cs typeface="+mn-cs"/>
              </a:rPr>
              <a:t>Reduced investment in ICT infrastructure equipment</a:t>
            </a:r>
          </a:p>
          <a:p>
            <a:pPr marL="771520" marR="0" lvl="4" indent="-380997" algn="l" defTabSz="914400" rtl="0" eaLnBrk="1" fontAlgn="auto" latinLnBrk="0" hangingPunct="1">
              <a:lnSpc>
                <a:spcPct val="150000"/>
              </a:lnSpc>
              <a:spcBef>
                <a:spcPts val="0"/>
              </a:spcBef>
              <a:spcAft>
                <a:spcPts val="0"/>
              </a:spcAft>
              <a:buClr>
                <a:srgbClr val="003399"/>
              </a:buClr>
              <a:buSzTx/>
              <a:buFont typeface="Courier New" panose="02070309020205020404" pitchFamily="49" charset="0"/>
              <a:buChar char="o"/>
              <a:tabLst/>
              <a:defRPr/>
            </a:pPr>
            <a:r>
              <a:rPr kumimoji="0" lang="en-ZA" altLang="en-US" sz="1600" b="0" i="0" u="none" strike="noStrike" kern="1200" cap="none" spc="0" normalizeH="0" baseline="0" noProof="0" dirty="0">
                <a:ln>
                  <a:noFill/>
                </a:ln>
                <a:solidFill>
                  <a:prstClr val="black"/>
                </a:solidFill>
                <a:effectLst/>
                <a:uLnTx/>
                <a:uFillTx/>
                <a:latin typeface="Calibri"/>
                <a:ea typeface="+mn-ea"/>
                <a:cs typeface="+mn-cs"/>
              </a:rPr>
              <a:t>Contributing to Green IT – Reduced IT Waste footprint</a:t>
            </a:r>
          </a:p>
          <a:p>
            <a:pPr marL="771520" marR="0" lvl="4" indent="-380997" algn="l" defTabSz="914400" rtl="0" eaLnBrk="1" fontAlgn="auto" latinLnBrk="0" hangingPunct="1">
              <a:lnSpc>
                <a:spcPct val="150000"/>
              </a:lnSpc>
              <a:spcBef>
                <a:spcPts val="0"/>
              </a:spcBef>
              <a:spcAft>
                <a:spcPts val="0"/>
              </a:spcAft>
              <a:buClr>
                <a:srgbClr val="003399"/>
              </a:buClr>
              <a:buSzTx/>
              <a:buFont typeface="Courier New" panose="02070309020205020404" pitchFamily="49" charset="0"/>
              <a:buChar char="o"/>
              <a:tabLst/>
              <a:defRPr/>
            </a:pPr>
            <a:r>
              <a:rPr kumimoji="0" lang="en-ZA" altLang="en-US" sz="1600" b="0" i="0" u="none" strike="noStrike" kern="1200" cap="none" spc="0" normalizeH="0" baseline="0" noProof="0" dirty="0">
                <a:ln>
                  <a:noFill/>
                </a:ln>
                <a:solidFill>
                  <a:prstClr val="black"/>
                </a:solidFill>
                <a:effectLst/>
                <a:uLnTx/>
                <a:uFillTx/>
                <a:latin typeface="Calibri"/>
                <a:ea typeface="+mn-ea"/>
                <a:cs typeface="+mn-cs"/>
              </a:rPr>
              <a:t>Reduced energy consumption</a:t>
            </a:r>
          </a:p>
          <a:p>
            <a:pPr marL="446755" marR="0" lvl="2" indent="-285750" algn="l" defTabSz="914400" rtl="0" eaLnBrk="1" fontAlgn="auto" latinLnBrk="0" hangingPunct="1">
              <a:lnSpc>
                <a:spcPct val="150000"/>
              </a:lnSpc>
              <a:spcBef>
                <a:spcPts val="0"/>
              </a:spcBef>
              <a:spcAft>
                <a:spcPts val="0"/>
              </a:spcAft>
              <a:buClr>
                <a:srgbClr val="003399"/>
              </a:buClr>
              <a:buSzPct val="120000"/>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Calibri"/>
                <a:ea typeface="+mn-ea"/>
                <a:cs typeface="+mn-cs"/>
              </a:rPr>
              <a:t>Enabling Innovation throughout the WCG.</a:t>
            </a:r>
          </a:p>
          <a:p>
            <a:pPr marL="446755" marR="0" lvl="2" indent="-285750" algn="l" defTabSz="914400" rtl="0" eaLnBrk="1" fontAlgn="auto" latinLnBrk="0" hangingPunct="1">
              <a:lnSpc>
                <a:spcPct val="150000"/>
              </a:lnSpc>
              <a:spcBef>
                <a:spcPts val="0"/>
              </a:spcBef>
              <a:spcAft>
                <a:spcPts val="0"/>
              </a:spcAft>
              <a:buClr>
                <a:srgbClr val="003399"/>
              </a:buClr>
              <a:buSzPct val="120000"/>
              <a:buFont typeface="Arial" panose="020B0604020202020204" pitchFamily="34" charset="0"/>
              <a:buChar char="•"/>
              <a:tabLst/>
              <a:defRPr/>
            </a:pPr>
            <a:r>
              <a:rPr lang="en-ZA" altLang="en-US" sz="1600" dirty="0">
                <a:solidFill>
                  <a:prstClr val="black"/>
                </a:solidFill>
                <a:latin typeface="Calibri"/>
              </a:rPr>
              <a:t>Enabled other broadband network providers to improve connectivity to businesses and citizens by utilising LIT’s expanded infrastructure.</a:t>
            </a:r>
            <a:endParaRPr kumimoji="0" lang="en-ZA" altLang="en-US" sz="1600" b="0" i="0" u="none" strike="noStrike" kern="1200" cap="none" spc="0" normalizeH="0" baseline="0" noProof="0" dirty="0">
              <a:ln>
                <a:noFill/>
              </a:ln>
              <a:solidFill>
                <a:prstClr val="black"/>
              </a:solidFill>
              <a:effectLst/>
              <a:uLnTx/>
              <a:uFillTx/>
              <a:latin typeface="Calibri"/>
              <a:ea typeface="+mn-ea"/>
              <a:cs typeface="+mn-cs"/>
            </a:endParaRPr>
          </a:p>
          <a:p>
            <a:pPr marL="446755" marR="0" lvl="2" indent="-285750" algn="l" defTabSz="914400" rtl="0" eaLnBrk="1" fontAlgn="auto" latinLnBrk="0" hangingPunct="1">
              <a:lnSpc>
                <a:spcPct val="150000"/>
              </a:lnSpc>
              <a:spcBef>
                <a:spcPts val="0"/>
              </a:spcBef>
              <a:spcAft>
                <a:spcPts val="0"/>
              </a:spcAft>
              <a:buClr>
                <a:srgbClr val="003399"/>
              </a:buClr>
              <a:buSzPct val="120000"/>
              <a:buFont typeface="Arial" panose="020B0604020202020204" pitchFamily="34" charset="0"/>
              <a:buChar char="•"/>
              <a:tabLst/>
              <a:defRPr/>
            </a:pPr>
            <a:r>
              <a:rPr kumimoji="0" lang="en-ZA" altLang="en-US" sz="1600" b="0" i="0" u="none" strike="noStrike" kern="1200" cap="none" spc="0" normalizeH="0" baseline="0" noProof="0" dirty="0">
                <a:ln>
                  <a:noFill/>
                </a:ln>
                <a:solidFill>
                  <a:prstClr val="black"/>
                </a:solidFill>
                <a:effectLst/>
                <a:uLnTx/>
                <a:uFillTx/>
                <a:latin typeface="Calibri"/>
                <a:ea typeface="+mn-ea"/>
                <a:cs typeface="+mn-cs"/>
              </a:rPr>
              <a:t>SITA able to add national and local government sites.</a:t>
            </a:r>
          </a:p>
          <a:p>
            <a:pPr marL="475737" marR="0" lvl="3" indent="-205045" algn="l" defTabSz="914400" rtl="0" eaLnBrk="1" fontAlgn="auto" latinLnBrk="0" hangingPunct="1">
              <a:lnSpc>
                <a:spcPct val="150000"/>
              </a:lnSpc>
              <a:spcBef>
                <a:spcPts val="0"/>
              </a:spcBef>
              <a:spcAft>
                <a:spcPts val="0"/>
              </a:spcAft>
              <a:buClr>
                <a:srgbClr val="003399"/>
              </a:buClr>
              <a:buSzTx/>
              <a:buFont typeface="Courier New" panose="02070309020205020404" pitchFamily="49" charset="0"/>
              <a:buChar char="o"/>
              <a:tabLst/>
              <a:defRPr/>
            </a:pPr>
            <a:endParaRPr kumimoji="0" lang="en-ZA" altLang="en-US" sz="1600" b="0" i="0" u="none" strike="noStrike" kern="0" cap="none" spc="0" normalizeH="0" baseline="0" noProof="0" dirty="0">
              <a:ln>
                <a:noFill/>
              </a:ln>
              <a:solidFill>
                <a:prstClr val="black"/>
              </a:solidFill>
              <a:effectLst/>
              <a:uLnTx/>
              <a:uFillTx/>
              <a:latin typeface="Calibri"/>
              <a:ea typeface="+mn-ea"/>
              <a:cs typeface="+mn-cs"/>
            </a:endParaRPr>
          </a:p>
          <a:p>
            <a:pPr marL="475737" marR="0" lvl="3" indent="-205045" algn="l" defTabSz="914400" rtl="0" eaLnBrk="1" fontAlgn="auto" latinLnBrk="0" hangingPunct="1">
              <a:lnSpc>
                <a:spcPct val="150000"/>
              </a:lnSpc>
              <a:spcBef>
                <a:spcPts val="0"/>
              </a:spcBef>
              <a:spcAft>
                <a:spcPts val="0"/>
              </a:spcAft>
              <a:buClr>
                <a:srgbClr val="003399"/>
              </a:buClr>
              <a:buSzTx/>
              <a:buFont typeface="Courier New" panose="02070309020205020404" pitchFamily="49" charset="0"/>
              <a:buChar char="o"/>
              <a:tabLst/>
              <a:defRPr/>
            </a:pPr>
            <a:endParaRPr kumimoji="0" lang="en-ZA" altLang="en-US" sz="1400" b="0" i="0" u="none" strike="noStrike" kern="0" cap="none" spc="0" normalizeH="0" baseline="0" noProof="0" dirty="0">
              <a:ln>
                <a:noFill/>
              </a:ln>
              <a:solidFill>
                <a:srgbClr val="1F497D"/>
              </a:solidFill>
              <a:effectLst/>
              <a:uLnTx/>
              <a:uFillTx/>
              <a:latin typeface="Calibri"/>
              <a:ea typeface="+mn-ea"/>
              <a:cs typeface="+mn-cs"/>
            </a:endParaRPr>
          </a:p>
        </p:txBody>
      </p:sp>
      <p:sp>
        <p:nvSpPr>
          <p:cNvPr id="3" name="TextBox 2">
            <a:extLst>
              <a:ext uri="{FF2B5EF4-FFF2-40B4-BE49-F238E27FC236}">
                <a16:creationId xmlns:a16="http://schemas.microsoft.com/office/drawing/2014/main" xmlns="" id="{F284C3C0-B620-4AC6-920E-EA2DAC34962B}"/>
              </a:ext>
            </a:extLst>
          </p:cNvPr>
          <p:cNvSpPr txBox="1"/>
          <p:nvPr/>
        </p:nvSpPr>
        <p:spPr>
          <a:xfrm>
            <a:off x="609598" y="1038258"/>
            <a:ext cx="502920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F497D"/>
                </a:solidFill>
                <a:effectLst/>
                <a:uLnTx/>
                <a:uFillTx/>
                <a:latin typeface="Calibri"/>
                <a:ea typeface="+mn-ea"/>
                <a:cs typeface="+mn-cs"/>
              </a:rPr>
              <a:t>Primary Value Delivered</a:t>
            </a:r>
          </a:p>
        </p:txBody>
      </p:sp>
      <p:sp>
        <p:nvSpPr>
          <p:cNvPr id="8" name="TextBox 7">
            <a:extLst>
              <a:ext uri="{FF2B5EF4-FFF2-40B4-BE49-F238E27FC236}">
                <a16:creationId xmlns:a16="http://schemas.microsoft.com/office/drawing/2014/main" xmlns="" id="{83F348B9-EE39-4A30-B62D-A9F8AABE6E40}"/>
              </a:ext>
            </a:extLst>
          </p:cNvPr>
          <p:cNvSpPr txBox="1"/>
          <p:nvPr/>
        </p:nvSpPr>
        <p:spPr>
          <a:xfrm>
            <a:off x="6173529" y="1044184"/>
            <a:ext cx="510539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F497D"/>
                </a:solidFill>
                <a:effectLst/>
                <a:uLnTx/>
                <a:uFillTx/>
                <a:latin typeface="Calibri"/>
                <a:ea typeface="+mn-ea"/>
                <a:cs typeface="+mn-cs"/>
              </a:rPr>
              <a:t>Secondary Value Derived</a:t>
            </a:r>
          </a:p>
        </p:txBody>
      </p:sp>
    </p:spTree>
    <p:extLst>
      <p:ext uri="{BB962C8B-B14F-4D97-AF65-F5344CB8AC3E}">
        <p14:creationId xmlns:p14="http://schemas.microsoft.com/office/powerpoint/2010/main" xmlns="" val="3086042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230746DA-B2CB-4328-B019-F780CA2FF9D2}"/>
              </a:ext>
            </a:extLst>
          </p:cNvPr>
          <p:cNvSpPr>
            <a:spLocks noGrp="1"/>
          </p:cNvSpPr>
          <p:nvPr>
            <p:ph type="title"/>
          </p:nvPr>
        </p:nvSpPr>
        <p:spPr>
          <a:xfrm>
            <a:off x="381000" y="316468"/>
            <a:ext cx="11285931" cy="369332"/>
          </a:xfrm>
        </p:spPr>
        <p:txBody>
          <a:bodyPr>
            <a:noAutofit/>
          </a:bodyPr>
          <a:lstStyle/>
          <a:p>
            <a:r>
              <a:rPr lang="en-US" dirty="0">
                <a:solidFill>
                  <a:schemeClr val="tx2"/>
                </a:solidFill>
              </a:rPr>
              <a:t>Status of Sites Connected to Broadband</a:t>
            </a:r>
            <a:endParaRPr lang="en-US" sz="1400" b="0" i="1" dirty="0">
              <a:solidFill>
                <a:schemeClr val="tx2"/>
              </a:solidFill>
            </a:endParaRPr>
          </a:p>
        </p:txBody>
      </p:sp>
      <p:sp>
        <p:nvSpPr>
          <p:cNvPr id="4" name="Slide Number Placeholder 3">
            <a:extLst>
              <a:ext uri="{FF2B5EF4-FFF2-40B4-BE49-F238E27FC236}">
                <a16:creationId xmlns:a16="http://schemas.microsoft.com/office/drawing/2014/main" xmlns="" id="{8765D1B9-5273-4630-8321-7C2ADA69AAEC}"/>
              </a:ext>
            </a:extLst>
          </p:cNvPr>
          <p:cNvSpPr>
            <a:spLocks noGrp="1"/>
          </p:cNvSpPr>
          <p:nvPr>
            <p:ph type="sldNum" sz="quarter" idx="4"/>
          </p:nvPr>
        </p:nvSpPr>
        <p:spPr/>
        <p:txBody>
          <a:bodyPr/>
          <a:lstStyle/>
          <a:p>
            <a:fld id="{8406839F-D7A4-4E5D-B93D-768AD4D1DB36}" type="slidenum">
              <a:rPr lang="en-ZA" smtClean="0"/>
              <a:pPr/>
              <a:t>6</a:t>
            </a:fld>
            <a:endParaRPr lang="en-ZA" dirty="0"/>
          </a:p>
        </p:txBody>
      </p:sp>
      <p:sp>
        <p:nvSpPr>
          <p:cNvPr id="6" name="TextBox 5">
            <a:extLst>
              <a:ext uri="{FF2B5EF4-FFF2-40B4-BE49-F238E27FC236}">
                <a16:creationId xmlns:a16="http://schemas.microsoft.com/office/drawing/2014/main" xmlns="" id="{3318B274-25F9-41DD-80AF-F05C5EAA63CE}"/>
              </a:ext>
            </a:extLst>
          </p:cNvPr>
          <p:cNvSpPr txBox="1"/>
          <p:nvPr/>
        </p:nvSpPr>
        <p:spPr>
          <a:xfrm>
            <a:off x="383498" y="4648200"/>
            <a:ext cx="11046502" cy="1162113"/>
          </a:xfrm>
          <a:prstGeom prst="rect">
            <a:avLst/>
          </a:prstGeom>
          <a:noFill/>
        </p:spPr>
        <p:txBody>
          <a:bodyPr wrap="square">
            <a:spAutoFit/>
          </a:bodyPr>
          <a:lstStyle/>
          <a:p>
            <a:pPr>
              <a:lnSpc>
                <a:spcPct val="150000"/>
              </a:lnSpc>
            </a:pPr>
            <a:r>
              <a:rPr lang="en-US" sz="1600" b="1" dirty="0"/>
              <a:t>Summary:</a:t>
            </a:r>
          </a:p>
          <a:p>
            <a:pPr marL="207935" indent="-207935">
              <a:lnSpc>
                <a:spcPct val="150000"/>
              </a:lnSpc>
              <a:buFont typeface="Arial" panose="020B0604020202020204" pitchFamily="34" charset="0"/>
              <a:buChar char="•"/>
            </a:pPr>
            <a:r>
              <a:rPr lang="en-US" sz="1600" dirty="0"/>
              <a:t>Total of 1549 WCG sites upgraded to Phase 2 speeds of minimum 100Mbps (81%).</a:t>
            </a:r>
          </a:p>
          <a:p>
            <a:pPr marL="207935" indent="-207935">
              <a:lnSpc>
                <a:spcPct val="150000"/>
              </a:lnSpc>
              <a:buFont typeface="Arial" panose="020B0604020202020204" pitchFamily="34" charset="0"/>
              <a:buChar char="•"/>
            </a:pPr>
            <a:r>
              <a:rPr lang="en-US" sz="1600" dirty="0"/>
              <a:t>Phase 3 (minimum speeds of 1Gbps) commences on 1 October 2022.</a:t>
            </a:r>
          </a:p>
        </p:txBody>
      </p:sp>
      <p:graphicFrame>
        <p:nvGraphicFramePr>
          <p:cNvPr id="9" name="Table 8">
            <a:extLst>
              <a:ext uri="{FF2B5EF4-FFF2-40B4-BE49-F238E27FC236}">
                <a16:creationId xmlns:a16="http://schemas.microsoft.com/office/drawing/2014/main" xmlns="" id="{B0C275A6-B503-4048-8F32-AF57B09401B2}"/>
              </a:ext>
            </a:extLst>
          </p:cNvPr>
          <p:cNvGraphicFramePr>
            <a:graphicFrameLocks noGrp="1"/>
          </p:cNvGraphicFramePr>
          <p:nvPr/>
        </p:nvGraphicFramePr>
        <p:xfrm>
          <a:off x="381000" y="1219200"/>
          <a:ext cx="11049000" cy="3354505"/>
        </p:xfrm>
        <a:graphic>
          <a:graphicData uri="http://schemas.openxmlformats.org/drawingml/2006/table">
            <a:tbl>
              <a:tblPr firstRow="1" firstCol="1" bandRow="1"/>
              <a:tblGrid>
                <a:gridCol w="3501586">
                  <a:extLst>
                    <a:ext uri="{9D8B030D-6E8A-4147-A177-3AD203B41FA5}">
                      <a16:colId xmlns:a16="http://schemas.microsoft.com/office/drawing/2014/main" xmlns="" val="2436534387"/>
                    </a:ext>
                  </a:extLst>
                </a:gridCol>
                <a:gridCol w="1467109">
                  <a:extLst>
                    <a:ext uri="{9D8B030D-6E8A-4147-A177-3AD203B41FA5}">
                      <a16:colId xmlns:a16="http://schemas.microsoft.com/office/drawing/2014/main" xmlns="" val="1236367936"/>
                    </a:ext>
                  </a:extLst>
                </a:gridCol>
                <a:gridCol w="1676696">
                  <a:extLst>
                    <a:ext uri="{9D8B030D-6E8A-4147-A177-3AD203B41FA5}">
                      <a16:colId xmlns:a16="http://schemas.microsoft.com/office/drawing/2014/main" xmlns="" val="1522946347"/>
                    </a:ext>
                  </a:extLst>
                </a:gridCol>
                <a:gridCol w="1362315">
                  <a:extLst>
                    <a:ext uri="{9D8B030D-6E8A-4147-A177-3AD203B41FA5}">
                      <a16:colId xmlns:a16="http://schemas.microsoft.com/office/drawing/2014/main" xmlns="" val="3867950165"/>
                    </a:ext>
                  </a:extLst>
                </a:gridCol>
                <a:gridCol w="1467109">
                  <a:extLst>
                    <a:ext uri="{9D8B030D-6E8A-4147-A177-3AD203B41FA5}">
                      <a16:colId xmlns:a16="http://schemas.microsoft.com/office/drawing/2014/main" xmlns="" val="1500639726"/>
                    </a:ext>
                  </a:extLst>
                </a:gridCol>
                <a:gridCol w="1574185">
                  <a:extLst>
                    <a:ext uri="{9D8B030D-6E8A-4147-A177-3AD203B41FA5}">
                      <a16:colId xmlns:a16="http://schemas.microsoft.com/office/drawing/2014/main" xmlns="" val="3427683070"/>
                    </a:ext>
                  </a:extLst>
                </a:gridCol>
              </a:tblGrid>
              <a:tr h="523530">
                <a:tc>
                  <a:txBody>
                    <a:bodyPr/>
                    <a:lstStyle/>
                    <a:p>
                      <a:pPr>
                        <a:spcAft>
                          <a:spcPts val="0"/>
                        </a:spcAft>
                      </a:pP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2"/>
                    </a:solidFill>
                  </a:tcPr>
                </a:tc>
                <a:tc>
                  <a:txBody>
                    <a:bodyPr/>
                    <a:lstStyle/>
                    <a:p>
                      <a:pPr>
                        <a:spcAft>
                          <a:spcPts val="0"/>
                        </a:spcAft>
                      </a:pPr>
                      <a:r>
                        <a:rPr lang="en-US" sz="1600" b="1" dirty="0">
                          <a:solidFill>
                            <a:schemeClr val="bg1"/>
                          </a:solidFill>
                          <a:effectLst/>
                          <a:latin typeface="Century Gothic" panose="020B0502020202020204" pitchFamily="34" charset="0"/>
                          <a:ea typeface="Calibri" panose="020F0502020204030204" pitchFamily="34" charset="0"/>
                          <a:cs typeface="Calibri" panose="020F0502020204030204" pitchFamily="34" charset="0"/>
                        </a:rPr>
                        <a:t>10mbps</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2"/>
                    </a:solidFill>
                  </a:tcPr>
                </a:tc>
                <a:tc>
                  <a:txBody>
                    <a:bodyPr/>
                    <a:lstStyle/>
                    <a:p>
                      <a:pPr>
                        <a:spcAft>
                          <a:spcPts val="0"/>
                        </a:spcAft>
                      </a:pPr>
                      <a:r>
                        <a:rPr lang="en-US" sz="1600" b="1" dirty="0">
                          <a:solidFill>
                            <a:schemeClr val="bg1"/>
                          </a:solidFill>
                          <a:effectLst/>
                          <a:latin typeface="Century Gothic" panose="020B0502020202020204" pitchFamily="34" charset="0"/>
                          <a:ea typeface="Calibri" panose="020F0502020204030204" pitchFamily="34" charset="0"/>
                          <a:cs typeface="Calibri" panose="020F0502020204030204" pitchFamily="34" charset="0"/>
                        </a:rPr>
                        <a:t>100mbps</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2"/>
                    </a:solidFill>
                  </a:tcPr>
                </a:tc>
                <a:tc>
                  <a:txBody>
                    <a:bodyPr/>
                    <a:lstStyle/>
                    <a:p>
                      <a:pPr>
                        <a:spcAft>
                          <a:spcPts val="0"/>
                        </a:spcAft>
                      </a:pPr>
                      <a:r>
                        <a:rPr lang="en-US" sz="1600" b="1" dirty="0">
                          <a:solidFill>
                            <a:schemeClr val="bg1"/>
                          </a:solidFill>
                          <a:effectLst/>
                          <a:latin typeface="Century Gothic" panose="020B0502020202020204" pitchFamily="34" charset="0"/>
                          <a:ea typeface="Calibri" panose="020F0502020204030204" pitchFamily="34" charset="0"/>
                          <a:cs typeface="Calibri" panose="020F0502020204030204" pitchFamily="34" charset="0"/>
                        </a:rPr>
                        <a:t>1Gbps</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2"/>
                    </a:solidFill>
                  </a:tcPr>
                </a:tc>
                <a:tc>
                  <a:txBody>
                    <a:bodyPr/>
                    <a:lstStyle/>
                    <a:p>
                      <a:pPr>
                        <a:spcAft>
                          <a:spcPts val="0"/>
                        </a:spcAft>
                      </a:pPr>
                      <a:r>
                        <a:rPr lang="en-US" sz="1600" b="1" dirty="0">
                          <a:solidFill>
                            <a:schemeClr val="bg1"/>
                          </a:solidFill>
                          <a:effectLst/>
                          <a:latin typeface="Century Gothic" panose="020B0502020202020204" pitchFamily="34" charset="0"/>
                          <a:ea typeface="Calibri" panose="020F0502020204030204" pitchFamily="34" charset="0"/>
                          <a:cs typeface="Calibri" panose="020F0502020204030204" pitchFamily="34" charset="0"/>
                        </a:rPr>
                        <a:t>10Gbps</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2"/>
                    </a:solidFill>
                  </a:tcPr>
                </a:tc>
                <a:tc>
                  <a:txBody>
                    <a:bodyPr/>
                    <a:lstStyle/>
                    <a:p>
                      <a:pPr>
                        <a:spcAft>
                          <a:spcPts val="0"/>
                        </a:spcAft>
                      </a:pPr>
                      <a:r>
                        <a:rPr lang="en-US" sz="1600" b="1" dirty="0">
                          <a:solidFill>
                            <a:schemeClr val="bg1"/>
                          </a:solidFill>
                          <a:effectLst/>
                          <a:latin typeface="Century Gothic" panose="020B0502020202020204" pitchFamily="34" charset="0"/>
                          <a:ea typeface="Calibri" panose="020F0502020204030204" pitchFamily="34" charset="0"/>
                          <a:cs typeface="Calibri" panose="020F0502020204030204" pitchFamily="34" charset="0"/>
                        </a:rPr>
                        <a:t>Total</a:t>
                      </a:r>
                      <a:endParaRPr lang="en-US" sz="16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chemeClr val="tx2"/>
                    </a:solidFill>
                  </a:tcPr>
                </a:tc>
                <a:extLst>
                  <a:ext uri="{0D108BD9-81ED-4DB2-BD59-A6C34878D82A}">
                    <a16:rowId xmlns:a16="http://schemas.microsoft.com/office/drawing/2014/main" xmlns="" val="1484044152"/>
                  </a:ext>
                </a:extLst>
              </a:tr>
              <a:tr h="543270">
                <a:tc>
                  <a:txBody>
                    <a:bodyPr/>
                    <a:lstStyle/>
                    <a:p>
                      <a:pP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Corporate Sites</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5</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73</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57</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3</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48</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2420024846"/>
                  </a:ext>
                </a:extLst>
              </a:tr>
              <a:tr h="457541">
                <a:tc>
                  <a:txBody>
                    <a:bodyPr/>
                    <a:lstStyle/>
                    <a:p>
                      <a:pP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Health Facilities</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81</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26</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75</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282</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582359633"/>
                  </a:ext>
                </a:extLst>
              </a:tr>
              <a:tr h="457541">
                <a:tc>
                  <a:txBody>
                    <a:bodyPr/>
                    <a:lstStyle/>
                    <a:p>
                      <a:pP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Schools</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51</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017</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73</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241</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287470038"/>
                  </a:ext>
                </a:extLst>
              </a:tr>
              <a:tr h="457541">
                <a:tc>
                  <a:txBody>
                    <a:bodyPr/>
                    <a:lstStyle/>
                    <a:p>
                      <a:pPr>
                        <a:spcAft>
                          <a:spcPts val="0"/>
                        </a:spcAft>
                      </a:pPr>
                      <a:r>
                        <a:rPr lang="en-US" sz="160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Libraries</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05</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05</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211</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9784065"/>
                  </a:ext>
                </a:extLst>
              </a:tr>
              <a:tr h="457541">
                <a:tc>
                  <a:txBody>
                    <a:bodyPr/>
                    <a:lstStyle/>
                    <a:p>
                      <a:pPr>
                        <a:spcAft>
                          <a:spcPts val="0"/>
                        </a:spcAft>
                      </a:pPr>
                      <a:r>
                        <a:rPr lang="en-US" sz="160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Cape Access Centres</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0</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9</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29</a:t>
                      </a: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725957946"/>
                  </a:ext>
                </a:extLst>
              </a:tr>
              <a:tr h="457541">
                <a:tc>
                  <a:txBody>
                    <a:bodyPr/>
                    <a:lstStyle/>
                    <a:p>
                      <a:pPr algn="r">
                        <a:spcAft>
                          <a:spcPts val="0"/>
                        </a:spcAft>
                      </a:pPr>
                      <a:r>
                        <a:rPr lang="en-US" sz="1600" b="1"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Total</a:t>
                      </a:r>
                      <a:endParaRPr lang="en-US" sz="1600" dirty="0">
                        <a:solidFill>
                          <a:srgbClr val="001489"/>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b="1"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362</a:t>
                      </a:r>
                      <a:endParaRPr lang="en-US" sz="1600" dirty="0">
                        <a:solidFill>
                          <a:srgbClr val="001489"/>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b="1"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340</a:t>
                      </a:r>
                      <a:endParaRPr lang="en-US" sz="1600" dirty="0">
                        <a:solidFill>
                          <a:srgbClr val="001489"/>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b="1"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206</a:t>
                      </a:r>
                      <a:endParaRPr lang="en-US" sz="1600" dirty="0">
                        <a:solidFill>
                          <a:srgbClr val="001489"/>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b="1"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3</a:t>
                      </a:r>
                      <a:endParaRPr lang="en-US" sz="1600" dirty="0">
                        <a:solidFill>
                          <a:srgbClr val="001489"/>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tc>
                  <a:txBody>
                    <a:bodyPr/>
                    <a:lstStyle/>
                    <a:p>
                      <a:pPr algn="ctr">
                        <a:spcAft>
                          <a:spcPts val="0"/>
                        </a:spcAft>
                      </a:pPr>
                      <a:r>
                        <a:rPr lang="en-US" sz="1600" b="1" dirty="0">
                          <a:solidFill>
                            <a:srgbClr val="001489"/>
                          </a:solidFill>
                          <a:effectLst/>
                          <a:latin typeface="Century Gothic" panose="020B0502020202020204" pitchFamily="34" charset="0"/>
                          <a:ea typeface="Calibri" panose="020F0502020204030204" pitchFamily="34" charset="0"/>
                          <a:cs typeface="Calibri" panose="020F0502020204030204" pitchFamily="34" charset="0"/>
                        </a:rPr>
                        <a:t>1911</a:t>
                      </a:r>
                      <a:endParaRPr lang="en-US" sz="1600" dirty="0">
                        <a:solidFill>
                          <a:srgbClr val="001489"/>
                        </a:solidFill>
                        <a:effectLst/>
                        <a:latin typeface="Calibri" panose="020F0502020204030204" pitchFamily="34" charset="0"/>
                        <a:ea typeface="Calibri" panose="020F0502020204030204" pitchFamily="34" charset="0"/>
                        <a:cs typeface="Calibri" panose="020F0502020204030204" pitchFamily="34" charset="0"/>
                      </a:endParaRPr>
                    </a:p>
                  </a:txBody>
                  <a:tcPr marL="113030" marR="113030" marT="56515" marB="56515"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265634391"/>
                  </a:ext>
                </a:extLst>
              </a:tr>
            </a:tbl>
          </a:graphicData>
        </a:graphic>
      </p:graphicFrame>
    </p:spTree>
    <p:extLst>
      <p:ext uri="{BB962C8B-B14F-4D97-AF65-F5344CB8AC3E}">
        <p14:creationId xmlns:p14="http://schemas.microsoft.com/office/powerpoint/2010/main" xmlns="" val="1233213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xmlns="" id="{A4C861FC-EE31-4FE4-B6FD-5203806B7C0B}"/>
              </a:ext>
            </a:extLst>
          </p:cNvPr>
          <p:cNvSpPr>
            <a:spLocks noGrp="1"/>
          </p:cNvSpPr>
          <p:nvPr>
            <p:ph type="title"/>
          </p:nvPr>
        </p:nvSpPr>
        <p:spPr/>
        <p:txBody>
          <a:bodyPr>
            <a:noAutofit/>
          </a:bodyPr>
          <a:lstStyle/>
          <a:p>
            <a:r>
              <a:rPr lang="en-US" sz="2100" dirty="0"/>
              <a:t>Public Wi-Fi Hotspots</a:t>
            </a:r>
          </a:p>
        </p:txBody>
      </p:sp>
      <p:sp>
        <p:nvSpPr>
          <p:cNvPr id="4" name="Slide Number Placeholder 3">
            <a:extLst>
              <a:ext uri="{FF2B5EF4-FFF2-40B4-BE49-F238E27FC236}">
                <a16:creationId xmlns:a16="http://schemas.microsoft.com/office/drawing/2014/main" xmlns="" id="{67FB4D94-9625-4711-8710-5407068BE4AA}"/>
              </a:ext>
            </a:extLst>
          </p:cNvPr>
          <p:cNvSpPr>
            <a:spLocks noGrp="1"/>
          </p:cNvSpPr>
          <p:nvPr>
            <p:ph type="sldNum" sz="quarter" idx="10"/>
          </p:nvPr>
        </p:nvSpPr>
        <p:spPr/>
        <p:txBody>
          <a:bodyPr/>
          <a:lstStyle/>
          <a:p>
            <a:fld id="{8406839F-D7A4-4E5D-B93D-768AD4D1DB36}" type="slidenum">
              <a:rPr lang="en-ZA" smtClean="0"/>
              <a:pPr/>
              <a:t>7</a:t>
            </a:fld>
            <a:endParaRPr lang="en-ZA" dirty="0"/>
          </a:p>
        </p:txBody>
      </p:sp>
      <p:pic>
        <p:nvPicPr>
          <p:cNvPr id="3" name="Picture 2" descr="Chart, bar chart, waterfall chart&#10;&#10;Description automatically generated">
            <a:extLst>
              <a:ext uri="{FF2B5EF4-FFF2-40B4-BE49-F238E27FC236}">
                <a16:creationId xmlns:a16="http://schemas.microsoft.com/office/drawing/2014/main" xmlns="" id="{3C36E69C-629B-4450-92E5-4C375F78E35E}"/>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04800" y="1143000"/>
            <a:ext cx="10900765" cy="5643362"/>
          </a:xfrm>
          <a:prstGeom prst="rect">
            <a:avLst/>
          </a:prstGeom>
        </p:spPr>
      </p:pic>
    </p:spTree>
    <p:extLst>
      <p:ext uri="{BB962C8B-B14F-4D97-AF65-F5344CB8AC3E}">
        <p14:creationId xmlns:p14="http://schemas.microsoft.com/office/powerpoint/2010/main" xmlns="" val="12062452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091A2E6-5C5E-40BB-9BB8-1A27186565DC}"/>
              </a:ext>
            </a:extLst>
          </p:cNvPr>
          <p:cNvSpPr/>
          <p:nvPr/>
        </p:nvSpPr>
        <p:spPr>
          <a:xfrm>
            <a:off x="1629112" y="6109049"/>
            <a:ext cx="8907688" cy="6565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8" err="1"/>
          </a:p>
        </p:txBody>
      </p:sp>
      <p:sp>
        <p:nvSpPr>
          <p:cNvPr id="2" name="Title 1"/>
          <p:cNvSpPr>
            <a:spLocks noGrp="1"/>
          </p:cNvSpPr>
          <p:nvPr>
            <p:ph type="title"/>
          </p:nvPr>
        </p:nvSpPr>
        <p:spPr>
          <a:xfrm>
            <a:off x="457200" y="283322"/>
            <a:ext cx="8597506" cy="517915"/>
          </a:xfrm>
        </p:spPr>
        <p:txBody>
          <a:bodyPr>
            <a:normAutofit/>
          </a:bodyPr>
          <a:lstStyle/>
          <a:p>
            <a:r>
              <a:rPr lang="en-US" sz="2062" dirty="0">
                <a:solidFill>
                  <a:srgbClr val="001489"/>
                </a:solidFill>
                <a:latin typeface="Century Gothic" panose="020B0502020202020204" pitchFamily="34" charset="0"/>
              </a:rPr>
              <a:t>WCG Public Wi-Fi Project Usage Overview</a:t>
            </a:r>
            <a:endParaRPr lang="en-US" sz="2062" dirty="0">
              <a:solidFill>
                <a:srgbClr val="001489"/>
              </a:solidFill>
            </a:endParaRPr>
          </a:p>
        </p:txBody>
      </p:sp>
      <p:sp>
        <p:nvSpPr>
          <p:cNvPr id="4" name="Slide Number Placeholder 3"/>
          <p:cNvSpPr>
            <a:spLocks noGrp="1"/>
          </p:cNvSpPr>
          <p:nvPr>
            <p:ph type="sldNum" sz="quarter" idx="4"/>
          </p:nvPr>
        </p:nvSpPr>
        <p:spPr/>
        <p:txBody>
          <a:bodyPr/>
          <a:lstStyle/>
          <a:p>
            <a:fld id="{8406839F-D7A4-4E5D-B93D-768AD4D1DB36}" type="slidenum">
              <a:rPr lang="en-ZA" smtClean="0"/>
              <a:pPr/>
              <a:t>8</a:t>
            </a:fld>
            <a:endParaRPr lang="en-ZA"/>
          </a:p>
        </p:txBody>
      </p:sp>
      <p:sp>
        <p:nvSpPr>
          <p:cNvPr id="3" name="Rectangle 2">
            <a:extLst>
              <a:ext uri="{FF2B5EF4-FFF2-40B4-BE49-F238E27FC236}">
                <a16:creationId xmlns:a16="http://schemas.microsoft.com/office/drawing/2014/main" xmlns="" id="{2DDF1884-0A8B-4DF1-AE96-9E6AF3ACEF6C}"/>
              </a:ext>
            </a:extLst>
          </p:cNvPr>
          <p:cNvSpPr/>
          <p:nvPr/>
        </p:nvSpPr>
        <p:spPr>
          <a:xfrm>
            <a:off x="1629113" y="5508568"/>
            <a:ext cx="1342048" cy="462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sp>
        <p:nvSpPr>
          <p:cNvPr id="16" name="TextBox 15">
            <a:extLst>
              <a:ext uri="{FF2B5EF4-FFF2-40B4-BE49-F238E27FC236}">
                <a16:creationId xmlns:a16="http://schemas.microsoft.com/office/drawing/2014/main" xmlns="" id="{755593DA-2D2C-4424-9307-1DB694B7DCE8}"/>
              </a:ext>
            </a:extLst>
          </p:cNvPr>
          <p:cNvSpPr txBox="1"/>
          <p:nvPr/>
        </p:nvSpPr>
        <p:spPr>
          <a:xfrm>
            <a:off x="214933" y="4001631"/>
            <a:ext cx="2147267" cy="1384995"/>
          </a:xfrm>
          <a:prstGeom prst="rect">
            <a:avLst/>
          </a:prstGeom>
          <a:noFill/>
        </p:spPr>
        <p:txBody>
          <a:bodyPr wrap="square" rtlCol="0">
            <a:spAutoFit/>
          </a:bodyPr>
          <a:lstStyle/>
          <a:p>
            <a:pPr marL="207935" indent="-207935">
              <a:buFont typeface="Arial" panose="020B0604020202020204" pitchFamily="34" charset="0"/>
              <a:buChar char="•"/>
            </a:pPr>
            <a:r>
              <a:rPr lang="en-US" sz="1400" dirty="0"/>
              <a:t>During </a:t>
            </a:r>
            <a:r>
              <a:rPr lang="en-US" sz="1400" b="1" dirty="0"/>
              <a:t>April 2022</a:t>
            </a:r>
            <a:r>
              <a:rPr lang="en-US" sz="1400" dirty="0"/>
              <a:t>, approximately 216TB of data was consumed.</a:t>
            </a:r>
          </a:p>
          <a:p>
            <a:endParaRPr lang="en-US" sz="1400" dirty="0"/>
          </a:p>
          <a:p>
            <a:pPr marL="207935" indent="-207935">
              <a:buFont typeface="Arial" panose="020B0604020202020204" pitchFamily="34" charset="0"/>
              <a:buChar char="•"/>
            </a:pPr>
            <a:r>
              <a:rPr lang="en-US" sz="1400" dirty="0"/>
              <a:t>Average of 683MB per user during </a:t>
            </a:r>
            <a:r>
              <a:rPr lang="en-US" sz="1400" b="1" dirty="0"/>
              <a:t>April 2022</a:t>
            </a:r>
            <a:r>
              <a:rPr lang="en-US" sz="1400" dirty="0"/>
              <a:t>.</a:t>
            </a:r>
          </a:p>
        </p:txBody>
      </p:sp>
      <p:sp>
        <p:nvSpPr>
          <p:cNvPr id="6" name="AutoShape 2" descr="data:image/jpeg;base64,/9j/4AAQSkZJRgABAQAAAQABAAD/2wCEAAkGBxISEhAQEhIVEBUWDw8QEBUQFRUPDw8QFRUWFhUVFRUYHSggGBolGxUVITEhJSkrLi4uFx8zODMsNygtLisBCgoKDg0OFxAQFy0dHR0tLS0tKystLS0tLS0tLS0tLSstLS0tLS0tLS0tLS0rKy0tKystKy0tLS0tLS0tKy0tLf/AABEIAKgBLAMBEQACEQEDEQH/xAAcAAABBQEBAQAAAAAAAAAAAAACAAEDBAUGBwj/xABHEAABAwMCAgYGBwQHCAMAAAABAAIDBBESBSExQQYTIlFhcQcUgZGhsSMycoKiwdEVQlKyM2Nzs8Lh8CRDYmR0g5LSF1OT/8QAGwEAAwEBAQEBAAAAAAAAAAAAAAECAwQFBgf/xAA0EQACAgEDAgMFCAMAAwEAAAAAAQIRAwQSITFBBRNxMlFhgZEUIiNCobHB8DPR4SRD8RX/2gAMAwEAAhEDEQA/AKvVAr2eUchNFTNUybAmEQCixixCYh2RosAsAgCGYbK4ksCKPvVNiQM1OOITjJiaK7mb2Ksgpz6XHLUUmbQ5reuOJ3aSertccxx2Xm+It7Yv1OvTVbPRIomhrRba3AfovClE9BM4HpnpjGzMmDQHFrmOIFg4XvuvU8EbWfb8Gcuvp47+Jzj419dFnisDFWISKQDIpAJACsmA2KQDWRQDFqAGwQAi1ADFqAGxToBYoAbFKhjYooBsUUAxagAS1AxrJANZAxrIAayQWMWoGNiih2ehQyBeS4nSpFyJ4WTRdk2Sih2M1m6YiURKbCiI7K0IryvVxRLZE2RabSLAdOqUBWQTPPFXFIlsbT5rzxff/L9F53icKhH1OrSSuTO8a3YE7cPb7F4Ukegjl+m8YxYe5y7/AAnjUx+Zz6z/ABM41y+uSPFYgAhgA9oTQEeCYhsE7AWCLAbFACxQAsUALFADYpjFigBsUALFAhsUDGxTAbBAAlqQDFqBglqAGLUADikMYtRQDWQA1kDOtjnXn7Day3DMs5RKTLjZli4miZPHKoaGTNn2U7bCwHSg7qtrFZny87Loiq6mTIS6wv71pVuibIOu5rTYRZHPOFUYCch9Hf8ATxeZ+S8/xaNYl6nVo399+h6LGNhfwXzcj00c902H0X3m/Ndvhb/8qHz/AGZhq/8ADL+9zhyvsDxAUxCIQFjYoCxYpgLFIY1kwsbFAhYoAWKAGxQA1kDFigBYIsBsU7AbFFjFiiwBxQAxagAS1MASxIAcUAMWoGMWoAEtQM3mkjYiy5avoXZOyXxWbiVZM2q5KXiHuLcE91jKFFqRI+XZKMQbIBLbmtdpFibJ3FVtJsBxvcKlGhWVJAtUQyu9apENlnSB9NF9oj4FeZ4uvwF6nZon+J8j0mJvZB+a+WkesjE6ZC8J8x48wuvw51qcfqZan/FI4TFfaHgjYoAWKAFigBYpgNikAsUALFOgGxQAsUUA2KQDYpgLFICVjApYxxADzUuVDoljpxz3UubGkJ8DUKTHSK8lNbgrUyaICxUAJYnYAlqdgCWoAbFADFqAALUAdPUM33C4YdDZlNwtwWyVmdjxwF24TbS4YdSyyNzeSydSLVoJ0p7klBA5EDiVokiGxm3CppCsIvN7o2ibGJuigsBzFSYmS6dtLEf6wfIrz/FV/wCO/VHVon+Kekwnst91l8pI9lGR0sb9C72fMLo0TrUY/VGWdfhS9DhcV9ufPjYoAWKACMSVgNgiwBxTAWCAFigBYoAbBAAlqYCxQAsUgCak0MMFRQ7BcVSQWCHFFILEXIodg4XR0EA9qEBGWqgBLUAMWoGCWoAHFMDrHtBK85Ojdjerg8lW9omh4mhuyHcgXAz3JqImwA03VdhdwnRjyQrBov0/Ruqe3JsDyOIuA0kd4DiCVjLV4YunJFrBkfKiV6nQKlnGCUf9txHvAsrhqsUukl9SZYZr8rKHqxBsQQe4ix+K33p9GZ0+5NHRqHMe0XUBro3DlIz52/NcXiLb07+R0aRfio7yhPZF+XBfLNnspGd0obeFy000qzQfxROVfhy9Dh8F92fNjYIAWCACwUgN1ZTsAcE7AbBACwQA2KAFggBixMY2CBD4JWMWKQCxQFjYIsY/VFG5ARuYnYDtKTVjsjcExAEKgBLUAMWpDBLUADZMDpcgN1wqLNWyN1QQrUETuE2b2o2huLLnAC54qEm2NsqGQrbaZ7jrPR3RRyyyyyWIgY11jvi51yHHyDTbzvyXleJajYvLi+X19Du0eLc9zXoZuqdPq2V5fC808V+w1jWkht7AvcQbu28l8zLLJ9OEfbYfDcEFU1ul/egFP6QNQbxlZJ/aRM/wBqSzSLl4Zpn2a9H/ALs0IvSVP/vKeCTyzjv8SrWokuxhLwbE+kmvoyVvTekf/Tac0HmY3MefxNC2jrZx6Nr5nNk8CT6ST9UONX0WSxdBPCQQb72uDfgx5+S0l4hOcXCUnTOZ+BZIS3RSfo/90a9PqmluFm1ZZ4SNewe9zVzvy5dxPQ6mP5L9ORVun01SwsirYCTw7bXH3XVY4qMlJO6ZhkxZUmpQa+RkS+jyp4sfFIORDnAn8JHxX0kfFsT6xaPDloMi6NGfP0KrW/7nLxa5h+ZBW0fEtO/zUZvSZV2KE2hVLPrQSj7jiPeBZbR1eGXSaM3gyLrFlJ8ZabEFp7jsfcVspJ9HZk1XURToLIy1UIbFMBYIsBsEWAsEWA2CAEGIsYTI7qWwNBlCLDIe5c7ye40USb9jtPAkean7Q11L8tMjOmlu3FPzk+RbKKdRSuC0jNMlplN7FsmQRlqoAS1AwCxUAJagAS1ADWQAJakBqB6y2jsdu6BWWmtsBfgPiofJQD7uKpKiW7E2IIsR2no5iOOojbtQR22sdmyg3PPiPcvB8Vj+In70et4e+K+J50Z3FoblZvYJa0ANJaDY2A47n3r53cffLEk7BskanQ9C+jzK6aSF0piLYjI3EBxdZwaePIZD3rTFBTdWceu1UtNBSUbt0ZOpUToZpIHbuZI6M2/eINgQPHYjzUONOjpx5Vkgpro1Zr610Nq6WITytYWdkOwdk6Iu2AeLDmQNr7q5YpRVs5sGvw5p7I3fx7mLSUUszurijdK7EuxYC52Itc2HLce8LNJt0jqyZIY1um6XxK72EXBBBF8gQQW22NweCKHuXHPUKCVzDdhLD3sJYfeEJ10CUVL2lfqaVP0krI/q1Uw85HPHucSqU5LuYS0mCXWC+n+jSp+n2oN4zCT+0jjP8oBVLLIwl4Zppflr0bL8XpKqbWlgp5R4NfGf5iPgrWokjnn4PhfSTX0f+iRvTWik/p9NaO90Tmud7Ltb81vDX5I9JNfM5MngMX0afqhtb0OEwiton9ZATZ7TfOF3cb78wCDuLg7g7e/oPEPNahPr2fv/AOnzGu0EtPJ8VXVfz6HNli9Y80WKAGxQAsUALFACwQBpafSXF+P5Lmy5K4NYRs3aHT/4/YuLJl9x0wh7y+2gYsXkkbbEVq6nFuyN1eOXPJE1xwc1WscOK78dHLKzMkiXSmZMhcxUmAGKoQJamMEtQAJagBsErGCWoA0A1SSSMjUtjLUjbtCzXUt9ABAVW5EUSspipc0Ojs/R3ER62DzjYPhIvH8UduHzPR0Hf5HlkG7W/ZHyXzB+kvqyRAja6Gaj6vW00hNmmQRP+xJ2TfwBIPsWmKW2SZya7F5uCUe/VfI7fXOj2et0zsexIxtTJ9qDY/HqB94reULypnk4NVt0M1fK4Xz/AKzam1FldNqWmGwDYGtY4cS5zTmfuOMftWjkpuUDlWKWnhi1Hvf9+vJz/okoMPXJ5BiWuFOb/uFl3Si//h7llp41bZ2+MZd/lwj35+vQzuhFVWVE2ozUvUfSfSSMqQ4g9Y6QxtGPC3aBvspxuUnJo110MOKGKGS+Pd8rIPRbpcM09QyeFkuMIs2Voe1rs7HY7X8UYIpt2ivFM04Y4OEmrfYsarX6O2aaCXT5GGOV8ZdA7EHEkXAD224cE5Sx3TiRhxa1wjOOVO13/wDhz+os011RAIHzQwO2qHSDIxb7Ft7k+N72248Fm9lquh2Y3qljk5pOXau5n65TQRzPZTzesRDEsk77jcEjYkHmFMkk+HZtgnknBPJHa/cUQbG5bmP4SS0H2hJFzTa4O39Fr8zW0zvqSUxkLdyA4HG4vzs+3sC6dNJxna7HjeMY08UW170YmC+3TPgWNgnYiSOlc69mk242UuaXUaQ3qx7kb0FAmE9ye5AHDTElTKdIaR0GmU5sABdcOaXvOnGjoIqdhG7bFcLbXQ60kQytLOG49+yae4HwO1wIRyg6mXqVM3e7V0YpsxnFHP1DWg2C7ots5nRnzMW8TNkBYrsQJYnYAFiAGLEWMEtTAAtQFmwIFhuHRIIkrGTshFt1DlyMDNVRNhskScQs7L0eOvJKP+Fn+L9V5HiS9j5noaF+0eSwDss+y35L5k/Sn1JECGcLgjwsgD3DR+ktO+jZWSPZnHTkS3I6xr7DNluPac1tu/Zd8cicdx8lm0mSOd4knTfHoeXdFNZMVfFUvP8ASTOE55Wnd2yfAOcHfdXJjnU7959BrNOp6Z41+VcfL/h6Z00eyjoKwx9kzPcNtiZJyA8j7uR9i68lRg67ngaJPNqIKX5f2Ry/oYP0taO+OmPudL+qy03Vno+Nezj9X/APou21Csb/AFc34Zmj80YPbYvFOdNjfp+w/SHpFRNqqiKfTIpC2VzTIwtbJJzyPZBvv3onOKk04hptLneKMoZmrXTsYGlz079TpXU8JhiNRABHIesIdfc8Tte21ys4uLmqXB2ZY5Y6SaySuVPlFv0rQNZXnEBuVNC91hbJ2UjST42aPcnnX3zPwmTlp+ezf8HHrE9I7L0VO/2yQd9HMPc6MrbB7R5niy/AXqv5Bl0193ENNg4jhtxX2cM0dq5PzuUHb4JabT38cD80Syx94Rxy9x2XR/Tg1uTm2J4gheZqMrbpM9DBj4tljUejcUo7IDT3jZZ49VOPUuemjLoZR6FcLyXHlYro+3/Ax+x/EkPRVgFrkbclH2xsr7KkTwUojbjxt37FZyybnZcYbUQTy9yEgbImzFOgsjLx5KkiWyOaZhFirjF9US2jB1ClaN23XZim31OacV2MqQjzXUkY2Vy1WIEtTAEtQAxYgASxOwIyxFgdY2g54lcHmfE6Ng1RRjlsnGbE4jMpG96bmw2oP1dljsEt8g2orOpweC0U/eZuJ1Ho9ZaaT7A+B/zXmeJu1D5ndofzHlr2WJHcSPcV8w+p+kx5imCkMf49wAuSe4DmgDrNS6IxUlJ11XMWVLxenhZibHbsv2ueO5BAF7b895YlGNyfJ5mPXzzZtmKNwXV/39DlHwuAa5zHNa8XYXNLWyN72kizhuOCxpnoqSbaT5X6Fir1KaVrI5ZpJGs3Y173Pa02tcA87XHkU3JvhsiGHHBuUYpN+4n0DX56J7pIC0FzcXB7c2uF7ja4Nx5804TcehnqNLjzpKfb3EvRzpFJSVLqoNEpc2RsjXHAPD3BxIIHZOQHIpwm4ysnU6SObEsbdV0+RS1jUDUTzVDmhhkeXloNw3la/PhxUylubZrhxLFjjBc0Hpj3QS0tS9jwwTxyB2JDZAx4Lgxx2cbA8CnHhpk5kskJ401dM2vSJrMFXUslgcXtFOxjiWuZ2g57rWcAeDgrzTUnaObw7T5MONxmqdnLLI9A6v0YOtXsH8UM7fw3/wAK1w+0eb4qr0/zR3/rBa5wIBGTht5r31FOK9D4pumyzTyjkBZRJFRZMakXWe1mm5E8dQFDRaYZmSodkD6gcE1FkuRRqonG9lrGiJGZJRSfqtlJGLizPq3uYbG47ltCCkZSk4lI1S2WIjzBzVjgjy6FvRXklvtZaKJLkVKmmba/DyWsJuzNxRnOYuiyAS1AA4oAYtQIEtTGDgiwO7gqGkbDZeRKDR2qSHqI2vHd5Jxk4hJWUpaYDbdaxm2ZuJSJN7LbijJt2W4IdrrOTNEjf6FR4zu3veJ3wcz9VweIO4xOvRqmzyytFpJR3SyD8RXzUurP0XF/jj6L9iukWdN6OaNstfCHC4YHzW5FzB2fc4g+xa4Vc0cHieRw08q70jWih/aOtSNl7UUTpRgeBigOAZ5F5yPfchaVvy89jkcvsuhTh1l39f8AgGszzatXGjiIjihdK1lx2WNjOD5Tbc3NgB3EcNylJvJPauiKwRhotP50uZSr9ea/2c47QJHVb6GBzahzXlge3sxmwBcSd8Q03B47gjfZZbHu2rk7vtUVgWaa2p9u/wDWdZ/8US439aZl3dU7G/dllf22W32Z+883/wDajfscev8Aw4vXNFnpJOqnZiSLsLTlHI3vY7n5bEXFxusZQcXTPUwajHnjug/+FvQNNgNR6vXCamzYGxm3VFkjj2HPDx9U7gHhf4VCKupcGWozZPL8zBUq69+DpdMJglfoeoWkhkt6tJwMbnE9W5hO4BcCB3OuNxdaR4fly6HDlrJBazT8SXVfv/e6+JxmuaW+lnlp37ljrA8A9h3a4eYt5G45LGUdro9TBmjmxqce5RUmx0Xo7fbUqTxM7T7YJfzstMXto4fEVemn8v3R6FXSEPe0C3bdbx3K+gwq4J/A+GyupNCdKG89/wA1VWK0ivLVo2CcyVlbtxUuBSmHFW5GxKTx0NZLLDagDmp2lbkSwz34pONDUrLAcFHJRBX0TZG2I9vMK8eRxZM4KSOPrNNcxxb9YciO5enDKpKzz542mVnU5byVqVk7aIZGEK1RLtERYSqtInliFDfxS80rYSDSvFT55XlEE2nEcFccxLxsrupSOSvemTRE+E93uVKSFQHUnuT3IKOuipiAF5kpps7FEFxIvxTSQm2V35E8bLVJIh2RmA99/JVuRG1mrp9HcDLh3Lnyzrob44X1Og0CkayYObziePxMXn6qblFWdmCCi3R47qotPUDuqJx+Ny8KXVn3+H/FD0X7FRSaG50K1MU1bBK42YXGOQngGvGNz4A4nyBWmKW2SOPX4XlwSiuvX6HSTP8A2brRkk7MMxe7I8BHMbuN/wDhkAv3DfmtX9zLb6M4Ir7Vodsfaj/H/P1Ip3P0nU3TuaXwTGUgt3yikcHuDeWTHW25i3ek/wAPJfZlRrW6VQTqUa/Tj9f3KnR7WqWm1SSdjneryCSMPe3ExiUseSRxxD22v3e9KE4xyWuhrqNPmy6RQa+9GuF3q1+x7JG8OAc0hwIBBBuCDwII4rtPmWmuGcD6Yp4hTwscR1vXZxgfXDA1we7vtu0edlz6hraj1vB4zeVtezXP8GL6QmH1DTTUFrqrg83Bc6ExuLiSOO/VXPC5KjN7Eb6nV4c19oy+XxD+b4/kD0glzqHSah+0/UjI8H7xscSfEOAP3kZfZi+4eHJefmxr2f8AtDeldoMlDMRZ8lKc/ulpH945LP1TH4Q/u5I9k/8Af+jhFgewbnQZ1tQoz/XW97HN/NXi9tHHr+dNP0/lHs80bTe69bHJpI+NnFNmRV6c0g2/zXVDKznljRRbSAbO/wA1q53yjPal1KlTRuB2O3JaQlFrkznFroBDTOvYEbq5SjRKi7NCjonE9ogD4rCc0lwbQg+5peqADa5WG+zbbQAjce8ItBTLGLse/ZTxZXNFSCm7W527iN1rKdLgzUeS9LpUTxuFis049zV4osq1fR+JwAx4dxsVpDVTT6mctPFroY0/Ryxu07b7Hc3XTHVX1Od6euhUp6E3IdcK55OOBRhzyXBStH+awc2zXYkVammbxGy0hNkSijIqI7c7rri7OeSImRDmm2JImMYUbmXSOjp5LgA+1cckdMWWmwMPJZ7mabURzadGeRHkrjlkiJY4sgj0sN3vffZW8zZCxUXo27LFs2SLulC0rfsv/I/kubUcxRti4bPG9bH+01P/AFNR/eOXiz9pn3en/wAUPRfsUVJqIoA62LpJBUUZpK4PL4mk0szBnJcCzWu+VzsRxsRdbeYpR2yPLlpMmLP5uDo+qOfn1eeSGOmfKXRRkOjYcSGEAgWdbKwBIAvYLNzbVNndHT445HkjGm+5RUmpao9VqIRjFPLEP4Y5Hsb/AOINlSlJdGZZMGOfMop/IrzzOe4ve5z3Hi57i9x83HdJuy4xUVUVSLWjzQNmidVNfLC09tjDuWgHEWJF23tcXG11UWr+90M80ZvHJYmlJ9/73+J2LWya3WNfgYqSCwOVhZl8i3b999gDbZoHv25yy+CPMe3QYGrucv79F+rMb0g642rqiYzeKJvUxkcHkEl7h4E7DvDQeajLPdLjsdXh2neHF97rLl/wcysjvNXoo/Gtoz/zUI97gPzVY/aRzaxXgn6M9lrZ7PcOG69nFG4nxE3TIuuBHFabWTaIH4u81atEOmTxRBS5FKJI2BncLqXOQ9qFJEEKQNCjKGCDzU0VZOx4U0VYMlimrE6IhcJ8CRYEmyiiyrKeatEMya2lN8mn2LohPjkxlHm0Zckxbs74LZRvoYuVdSvLVt32WixyJc0ZtQ8OOwXVCNLk5pSvoSw0bjvw8SolkSLjBsJ0HiVG4ujq3wC91wKR2OKIZZw1XGDkQ5JErQX2sbJcRK5kTR6ffcuKh5fcilj95abA0LJybNNqRNSMs9h8SPwu/RZZXwXBcni3SJtqqrH/ADVR/eOXkz9pn2+lf4EPRGcoNzoehDGulq2vdg12l1rXuDcyxp6u7sedgL2WuLq79zOHxBtQg0re+P8AJpQ6XTPp9PiZMJ2P1YxySCJ1M+zo2kx2dvwA3vzHcrUYuMVd8nPLNljkyylHa1C6u+/UgeYql9fT+qwQGGKqmpnQMMUg9XdbCY37eQ2JPA39i4k2qqv4LSnhjiyb3Lc0nfK+93XuojrRRGiZUijMb5JZoB1dRLjG5rAWvs64PHh4cUns23Q4faFnePzLSSfKXPwM7o3o7Kj1gv615iiY9sVKGGomu7E4B+1mjci19wphBSs31Woli21X3n1d0voTRaBC+WpaKnCKGnFQXuiL5GtON45IwQWvblYjw4cg9it88IzeqmoQey5SdVf6p+59iM9GZDMyOOWN7H03rjZ3XihFMNnSPDhdljtbfiPYeW7pMr7ZFQcpJpp7a6u/cGNJqmWiinY6Koa+z4Z8KafD6zHFxb2h/C4c+e6NslwnwxPPhl96cWpQ7Ncq+/oUtW0GppcTPF1YcSGnON4JAv8AuONtu9TKDj1NsOpxZvYd/UzVJuXNGfaopnd1VTn3SNKqHtIyzq8U/R/se4ahThznFexhnSPhckU2VmUHitnlM1jIp6Qs7XHyVxyKXBEoNchNqNktvI1LgAVRBsm4WLfQRqip2IrcD6xZPaLcIVBPBKkOyWNxSdDLDCoZSCe5SUAJbIoCJ811SiJspSvcTstYozkzNqqG5JLvcumGSuxzyhZT/Y7j9U3HjstvtCXUyeFvoQnTHtdYC/yVedFqyPKkmab6XFgufNc2+3wdG2kUHVLRstfLbM96Ox9UC83zD0Ng3qDObQU/NkheUmGKYDhsp8y+pWyug+CVhRG+6rgQDKotnpo8CWvfLd+2LHNjcWtI43d2iDw7B7wscvQuB5P0spy2rqydj61UHE8erJDmv8jc+4d68zJHln2Gjyp48cfh+pjLI7ielq3xFxjcWF0b4n2sco3izm7jmmm10InjjOlJXTv5oduoSCJsIdZraj1lttnNmxDcg7jwAT3OqJeKLm5tctV8jVqelMr2TN6qBkkzDHUTRx4zTMP1gd7DLmQN1Tytp8dTnhooRlF7m1HlJvhGfLqRNKylxFm1D5w++5yYG4428L3up3fd2myw1meW+qqgtGqoWGQSiQZBnVzU5AqaaRrr5RkkbEEtcLjZOLS6izwnKnCuOqfR+v8ABvu6VsE1RMwvDjpYpI5JmMfJPUMILZJWi7d/G/1Rda+arb+Bw/YZeXGMq9u2l2T7Io6brzpZphVykNmopKLMMaGwAkOjODAOyC3cAfvKFO29z6qjfLpVjhHyY8xkpV7yLVmxxUDaUTw1Mjqx1S71dxliiYIeqAzIHaJsbIlShtu2Vhc56jzNrilGueG+bB6ava6skkaQ4OipXXbYg/QR8wjL7QaBNYUn2b/cw1mdhLSvxfG7ukY73OBTXVEZFcJL4P8AY+galvaK9WD4Ph5EF1RI7zfZNMGiA0QPgtPMM/LK02m34EhaRzL3ESxEPquPF103NMShRXlKpEjxSclLRaLLZQFBQIqVW0W4NkhKloaZajChlB9SErHRDPSjktIzIlAoVEZHAH2braLsykin1kpNgw/JbbY9WzLdLsixFA4fWO6ylJdi1F9yvWMIabn3K8fXgmfQwZBvsu5HIz0YFeAe0NkgB7oAYhADEJgU62hbJ1bjs6KQTQuFwY5Q1zQ6wIyFnuBadiCk+RLgxOk/RcVrjPA8U9V1fVzxlzmsmj4blu5HLKxBAAIBG3HkxP0Z6ui10cS2zjuj+zOQm6A6g3hAH/Yli/xOC5/JmezHxPTP81fJlSTofqA40snsLH/yuKXlT9xotfpn+dfr/oqzaDWN40s/shkd8gl5cvcaR1WCXSa+q/kqSUcrfrRSN+0x7fmFO1+40WXG+kk/miu5wHHbz2SL69B2SWN7Nd4O3HwKaZM4tqlwMB/rj8eaGOKdcj2SGMmA1kAJAC8bi97AfvHxTIcuaPoaoduL/wAIuvTgfET6kFwtCB8gkAjIgLAdIqQiFzQVd0JoTqdvcjzGLYisaVvLZVvbFsQRpUbg2gGlT3i2iEdkWCRI0lLgZK2UhKh2GJQltYWA+YK1FktoqTTjkVqombkZ8tWfNaxx2ZSyUZ1ZOSunHBI55zbKRW5kegL52z3QSUxCD0APmgViyQKxXToAXxh1rgG2472nvB4g+ISaAbq7fvSf/rL/AOynaitw5c8cJXj2td/MCjZENzGE8n/3OPm2M/JgS2INzJW1cv8AG0+bD+TglsHuPKNX9Nj4aiop30Ec3VTzQ5dYWZ9W8tvYsda9uFyo2lqTJI/SfHILzaA4t72sbM23f2oQpe3vRpHLlXST+rOj6J1mm6lFJNFprIwyUxPa5scb8w1rjbHl2u/kUeUn2RotbnX/ALH9TRn6M6a7jRSN+xKWj8MqTwJ9jSPieoj+f6pMqv6G6Yf3aiPyc5/5OS+zr3Gi8W1Hdp/IrSdAqA/VqKln2mXb7zEPmpenXxNV4xl7pP6/7Ksvo9pj9TUWt/tGsJ/napen+JovGZd4L6lrQugVPDK2aaqbUhjg9kcbQ1pcNwXdt1xw224b7bJwwU/eZ6jxRzi1GO2+939DrZqrIk/6su2MaR4zdkPWqqJC6xFAJr0UBIEUA4RQCcU0hWRtAVBY7noSEA6VPawsDigA8gEVYhjImoisF8osrUSWyjUTkcFvCBjKZQJcVvUUY3JkEzCFcSJJorOC1IALE7FR3OS+dPcGcU0AwKYgkAOgKGKdioEOSCgXSICgDIgAesQAusQB5xoegwisragsDpHVlS4OcLlgMjvq93muTK3bRtBHWzR34+HzXJJcm6IujLRG6qDRa8rXG21ziBc+xo9y7tM/unPl6my6VdBlYwemILJAAOeU0gGbdVSESgFIZK2MoAMxoARICaTZO4XWqthO8DrUbUCY+aEgEEUMA3VJIlsjLbKqJsDrE9otwXWooe4LNKmO0RylXFESaK72DvutUzNogcHE2CtV1M+egvUSee6PNSDyrB/ZbjwT8+IeSyQaT3lQ9QV5DNcOXlnpBBADoAfJADF6ABLkwBLkAA5yBAuKYiO6QCyToRzOnM+nqP8AqJfi4n81x5vaZvDoa8g4rma5NUVdMNpJ/wDsn+f9F3aVWmc+Z9DRyXZtMbJWNKTGmSgKRk0cN0ASdShAE2NArHIT4FyCQmmJoiIT3BtFiUbg20A6Mqk0S7Dij70Ngi0xoWTZokLEI3BtI3xAqlMlxK8lKeRW0ciMpQZXfAQtFNMzcWgQ08h7t1XHcXIYpnO8EnOMR7HIcaeRul5yY/JaCdTDmVPmDeMYBo4IbbGkkP1iVDAMxSoLJRIuI6whIgBzImAJlQAPWpgN1iBD5oARKYhkCHxToAhGnYHMU/Zqqlv9d8w0/muLL7TNodDVl/L/AF+a52aor6VGTLNb+GL5yfquzSOrMMyujcjpe9de4won6pFhTIzEjgLYYNtlLLDLlNhQAciwCBRYBtSsB9kAPsgfAYsi2AElk0xcEbQm2AVkWA4aiwoRajcKhFrUbmg2oHJo4KrbBJIjfUdyEgbAM6tQIchnMJVJpEtNlWSIhappmTTRBI8haKKZDk0QGUqtiJ3n/9k="/>
          <p:cNvSpPr>
            <a:spLocks noChangeAspect="1" noChangeArrowheads="1"/>
          </p:cNvSpPr>
          <p:nvPr/>
        </p:nvSpPr>
        <p:spPr bwMode="auto">
          <a:xfrm>
            <a:off x="1618181" y="-87602"/>
            <a:ext cx="184831" cy="18483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55449" tIns="27725" rIns="55449" bIns="27725" numCol="1" anchor="t" anchorCtr="0" compatLnSpc="1">
            <a:prstTxWarp prst="textNoShape">
              <a:avLst/>
            </a:prstTxWarp>
          </a:bodyPr>
          <a:lstStyle/>
          <a:p>
            <a:endParaRPr lang="en-ZA" sz="1092"/>
          </a:p>
        </p:txBody>
      </p:sp>
      <p:sp>
        <p:nvSpPr>
          <p:cNvPr id="8" name="AutoShape 6" descr="data:image/jpeg;base64,/9j/4AAQSkZJRgABAQAAAQABAAD/2wCEAAkGBxISEhAQEhIVEBUWDw8QEBUQFRUPDw8QFRUWFhUVFRUYHSggGBolGxUVITEhJSkrLi4uFx8zODMsNygtLisBCgoKDg0OFxAQFy0dHR0tLS0tKystLS0tLS0tLS0tLSstLS0tLS0tLS0tLS0rKy0tKystKy0tLS0tLS0tKy0tLf/AABEIAKgBLAMBEQACEQEDEQH/xAAcAAABBQEBAQAAAAAAAAAAAAACAAEDBAUGBwj/xABHEAABAwMCAgYGBwQHCAMAAAABAAIDBBESBSExQQYTIlFhcQcUgZGhsSMycoKiwdEVQlKyM2Nzs8Lh8CRDYmR0g5LSF1OT/8QAGwEAAwEBAQEBAAAAAAAAAAAAAAECAwQFBgf/xAA0EQACAgEDAgMFCAMAAwEAAAAAAQIRAwQSITFBBRNxMlFhgZEUIiNCobHB8DPR4SRD8RX/2gAMAwEAAhEDEQA/AKvVAr2eUchNFTNUybAmEQCixixCYh2RosAsAgCGYbK4ksCKPvVNiQM1OOITjJiaK7mb2Ksgpz6XHLUUmbQ5reuOJ3aSertccxx2Xm+It7Yv1OvTVbPRIomhrRba3AfovClE9BM4HpnpjGzMmDQHFrmOIFg4XvuvU8EbWfb8Gcuvp47+Jzj419dFnisDFWISKQDIpAJACsmA2KQDWRQDFqAGwQAi1ADFqAGxToBYoAbFKhjYooBsUUAxagAS1AxrJANZAxrIAayQWMWoGNiih2ehQyBeS4nSpFyJ4WTRdk2Sih2M1m6YiURKbCiI7K0IryvVxRLZE2RabSLAdOqUBWQTPPFXFIlsbT5rzxff/L9F53icKhH1OrSSuTO8a3YE7cPb7F4Ukegjl+m8YxYe5y7/AAnjUx+Zz6z/ABM41y+uSPFYgAhgA9oTQEeCYhsE7AWCLAbFACxQAsUALFADYpjFigBsUALFAhsUDGxTAbBAAlqQDFqBglqAGLUADikMYtRQDWQA1kDOtjnXn7Day3DMs5RKTLjZli4miZPHKoaGTNn2U7bCwHSg7qtrFZny87Loiq6mTIS6wv71pVuibIOu5rTYRZHPOFUYCch9Hf8ATxeZ+S8/xaNYl6nVo399+h6LGNhfwXzcj00c902H0X3m/Ndvhb/8qHz/AGZhq/8ADL+9zhyvsDxAUxCIQFjYoCxYpgLFIY1kwsbFAhYoAWKAGxQA1kDFigBYIsBsU7AbFFjFiiwBxQAxagAS1MASxIAcUAMWoGMWoAEtQM3mkjYiy5avoXZOyXxWbiVZM2q5KXiHuLcE91jKFFqRI+XZKMQbIBLbmtdpFibJ3FVtJsBxvcKlGhWVJAtUQyu9apENlnSB9NF9oj4FeZ4uvwF6nZon+J8j0mJvZB+a+WkesjE6ZC8J8x48wuvw51qcfqZan/FI4TFfaHgjYoAWKAFigBYpgNikAsUALFOgGxQAsUUA2KQDYpgLFICVjApYxxADzUuVDoljpxz3UubGkJ8DUKTHSK8lNbgrUyaICxUAJYnYAlqdgCWoAbFADFqAALUAdPUM33C4YdDZlNwtwWyVmdjxwF24TbS4YdSyyNzeSydSLVoJ0p7klBA5EDiVokiGxm3CppCsIvN7o2ibGJuigsBzFSYmS6dtLEf6wfIrz/FV/wCO/VHVon+Kekwnst91l8pI9lGR0sb9C72fMLo0TrUY/VGWdfhS9DhcV9ufPjYoAWKACMSVgNgiwBxTAWCAFigBYoAbBAAlqYCxQAsUgCak0MMFRQ7BcVSQWCHFFILEXIodg4XR0EA9qEBGWqgBLUAMWoGCWoAHFMDrHtBK85Ojdjerg8lW9omh4mhuyHcgXAz3JqImwA03VdhdwnRjyQrBov0/Ruqe3JsDyOIuA0kd4DiCVjLV4YunJFrBkfKiV6nQKlnGCUf9txHvAsrhqsUukl9SZYZr8rKHqxBsQQe4ix+K33p9GZ0+5NHRqHMe0XUBro3DlIz52/NcXiLb07+R0aRfio7yhPZF+XBfLNnspGd0obeFy000qzQfxROVfhy9Dh8F92fNjYIAWCACwUgN1ZTsAcE7AbBACwQA2KAFggBixMY2CBD4JWMWKQCxQFjYIsY/VFG5ARuYnYDtKTVjsjcExAEKgBLUAMWpDBLUADZMDpcgN1wqLNWyN1QQrUETuE2b2o2huLLnAC54qEm2NsqGQrbaZ7jrPR3RRyyyyyWIgY11jvi51yHHyDTbzvyXleJajYvLi+X19Du0eLc9zXoZuqdPq2V5fC808V+w1jWkht7AvcQbu28l8zLLJ9OEfbYfDcEFU1ul/egFP6QNQbxlZJ/aRM/wBqSzSLl4Zpn2a9H/ALs0IvSVP/vKeCTyzjv8SrWokuxhLwbE+kmvoyVvTekf/Tac0HmY3MefxNC2jrZx6Nr5nNk8CT6ST9UONX0WSxdBPCQQb72uDfgx5+S0l4hOcXCUnTOZ+BZIS3RSfo/90a9PqmluFm1ZZ4SNewe9zVzvy5dxPQ6mP5L9ORVun01SwsirYCTw7bXH3XVY4qMlJO6ZhkxZUmpQa+RkS+jyp4sfFIORDnAn8JHxX0kfFsT6xaPDloMi6NGfP0KrW/7nLxa5h+ZBW0fEtO/zUZvSZV2KE2hVLPrQSj7jiPeBZbR1eGXSaM3gyLrFlJ8ZabEFp7jsfcVspJ9HZk1XURToLIy1UIbFMBYIsBsEWAsEWA2CAEGIsYTI7qWwNBlCLDIe5c7ye40USb9jtPAkean7Q11L8tMjOmlu3FPzk+RbKKdRSuC0jNMlplN7FsmQRlqoAS1AwCxUAJagAS1ADWQAJakBqB6y2jsdu6BWWmtsBfgPiofJQD7uKpKiW7E2IIsR2no5iOOojbtQR22sdmyg3PPiPcvB8Vj+In70et4e+K+J50Z3FoblZvYJa0ANJaDY2A47n3r53cffLEk7BskanQ9C+jzK6aSF0piLYjI3EBxdZwaePIZD3rTFBTdWceu1UtNBSUbt0ZOpUToZpIHbuZI6M2/eINgQPHYjzUONOjpx5Vkgpro1Zr610Nq6WITytYWdkOwdk6Iu2AeLDmQNr7q5YpRVs5sGvw5p7I3fx7mLSUUszurijdK7EuxYC52Itc2HLce8LNJt0jqyZIY1um6XxK72EXBBBF8gQQW22NweCKHuXHPUKCVzDdhLD3sJYfeEJ10CUVL2lfqaVP0krI/q1Uw85HPHucSqU5LuYS0mCXWC+n+jSp+n2oN4zCT+0jjP8oBVLLIwl4Zppflr0bL8XpKqbWlgp5R4NfGf5iPgrWokjnn4PhfSTX0f+iRvTWik/p9NaO90Tmud7Ltb81vDX5I9JNfM5MngMX0afqhtb0OEwiton9ZATZ7TfOF3cb78wCDuLg7g7e/oPEPNahPr2fv/AOnzGu0EtPJ8VXVfz6HNli9Y80WKAGxQAsUALFACwQBpafSXF+P5Lmy5K4NYRs3aHT/4/YuLJl9x0wh7y+2gYsXkkbbEVq6nFuyN1eOXPJE1xwc1WscOK78dHLKzMkiXSmZMhcxUmAGKoQJamMEtQAJagBsErGCWoA0A1SSSMjUtjLUjbtCzXUt9ABAVW5EUSspipc0Ojs/R3ER62DzjYPhIvH8UduHzPR0Hf5HlkG7W/ZHyXzB+kvqyRAja6Gaj6vW00hNmmQRP+xJ2TfwBIPsWmKW2SZya7F5uCUe/VfI7fXOj2et0zsexIxtTJ9qDY/HqB94reULypnk4NVt0M1fK4Xz/AKzam1FldNqWmGwDYGtY4cS5zTmfuOMftWjkpuUDlWKWnhi1Hvf9+vJz/okoMPXJ5BiWuFOb/uFl3Si//h7llp41bZ2+MZd/lwj35+vQzuhFVWVE2ozUvUfSfSSMqQ4g9Y6QxtGPC3aBvspxuUnJo110MOKGKGS+Pd8rIPRbpcM09QyeFkuMIs2Voe1rs7HY7X8UYIpt2ivFM04Y4OEmrfYsarX6O2aaCXT5GGOV8ZdA7EHEkXAD224cE5Sx3TiRhxa1wjOOVO13/wDhz+os011RAIHzQwO2qHSDIxb7Ft7k+N72248Fm9lquh2Y3qljk5pOXau5n65TQRzPZTzesRDEsk77jcEjYkHmFMkk+HZtgnknBPJHa/cUQbG5bmP4SS0H2hJFzTa4O39Fr8zW0zvqSUxkLdyA4HG4vzs+3sC6dNJxna7HjeMY08UW170YmC+3TPgWNgnYiSOlc69mk242UuaXUaQ3qx7kb0FAmE9ye5AHDTElTKdIaR0GmU5sABdcOaXvOnGjoIqdhG7bFcLbXQ60kQytLOG49+yae4HwO1wIRyg6mXqVM3e7V0YpsxnFHP1DWg2C7ots5nRnzMW8TNkBYrsQJYnYAFiAGLEWMEtTAAtQFmwIFhuHRIIkrGTshFt1DlyMDNVRNhskScQs7L0eOvJKP+Fn+L9V5HiS9j5noaF+0eSwDss+y35L5k/Sn1JECGcLgjwsgD3DR+ktO+jZWSPZnHTkS3I6xr7DNluPac1tu/Zd8cicdx8lm0mSOd4knTfHoeXdFNZMVfFUvP8ASTOE55Wnd2yfAOcHfdXJjnU7959BrNOp6Z41+VcfL/h6Z00eyjoKwx9kzPcNtiZJyA8j7uR9i68lRg67ngaJPNqIKX5f2Ry/oYP0taO+OmPudL+qy03Vno+Nezj9X/APou21Csb/AFc34Zmj80YPbYvFOdNjfp+w/SHpFRNqqiKfTIpC2VzTIwtbJJzyPZBvv3onOKk04hptLneKMoZmrXTsYGlz079TpXU8JhiNRABHIesIdfc8Tte21ys4uLmqXB2ZY5Y6SaySuVPlFv0rQNZXnEBuVNC91hbJ2UjST42aPcnnX3zPwmTlp+ezf8HHrE9I7L0VO/2yQd9HMPc6MrbB7R5niy/AXqv5Bl0193ENNg4jhtxX2cM0dq5PzuUHb4JabT38cD80Syx94Rxy9x2XR/Tg1uTm2J4gheZqMrbpM9DBj4tljUejcUo7IDT3jZZ49VOPUuemjLoZR6FcLyXHlYro+3/Ax+x/EkPRVgFrkbclH2xsr7KkTwUojbjxt37FZyybnZcYbUQTy9yEgbImzFOgsjLx5KkiWyOaZhFirjF9US2jB1ClaN23XZim31OacV2MqQjzXUkY2Vy1WIEtTAEtQAxYgASxOwIyxFgdY2g54lcHmfE6Ng1RRjlsnGbE4jMpG96bmw2oP1dljsEt8g2orOpweC0U/eZuJ1Ho9ZaaT7A+B/zXmeJu1D5ndofzHlr2WJHcSPcV8w+p+kx5imCkMf49wAuSe4DmgDrNS6IxUlJ11XMWVLxenhZibHbsv2ueO5BAF7b895YlGNyfJ5mPXzzZtmKNwXV/39DlHwuAa5zHNa8XYXNLWyN72kizhuOCxpnoqSbaT5X6Fir1KaVrI5ZpJGs3Y173Pa02tcA87XHkU3JvhsiGHHBuUYpN+4n0DX56J7pIC0FzcXB7c2uF7ja4Nx5804TcehnqNLjzpKfb3EvRzpFJSVLqoNEpc2RsjXHAPD3BxIIHZOQHIpwm4ysnU6SObEsbdV0+RS1jUDUTzVDmhhkeXloNw3la/PhxUylubZrhxLFjjBc0Hpj3QS0tS9jwwTxyB2JDZAx4Lgxx2cbA8CnHhpk5kskJ401dM2vSJrMFXUslgcXtFOxjiWuZ2g57rWcAeDgrzTUnaObw7T5MONxmqdnLLI9A6v0YOtXsH8UM7fw3/wAK1w+0eb4qr0/zR3/rBa5wIBGTht5r31FOK9D4pumyzTyjkBZRJFRZMakXWe1mm5E8dQFDRaYZmSodkD6gcE1FkuRRqonG9lrGiJGZJRSfqtlJGLizPq3uYbG47ltCCkZSk4lI1S2WIjzBzVjgjy6FvRXklvtZaKJLkVKmmba/DyWsJuzNxRnOYuiyAS1AA4oAYtQIEtTGDgiwO7gqGkbDZeRKDR2qSHqI2vHd5Jxk4hJWUpaYDbdaxm2ZuJSJN7LbijJt2W4IdrrOTNEjf6FR4zu3veJ3wcz9VweIO4xOvRqmzyytFpJR3SyD8RXzUurP0XF/jj6L9iukWdN6OaNstfCHC4YHzW5FzB2fc4g+xa4Vc0cHieRw08q70jWih/aOtSNl7UUTpRgeBigOAZ5F5yPfchaVvy89jkcvsuhTh1l39f8AgGszzatXGjiIjihdK1lx2WNjOD5Tbc3NgB3EcNylJvJPauiKwRhotP50uZSr9ea/2c47QJHVb6GBzahzXlge3sxmwBcSd8Q03B47gjfZZbHu2rk7vtUVgWaa2p9u/wDWdZ/8US439aZl3dU7G/dllf22W32Z+883/wDajfscev8Aw4vXNFnpJOqnZiSLsLTlHI3vY7n5bEXFxusZQcXTPUwajHnjug/+FvQNNgNR6vXCamzYGxm3VFkjj2HPDx9U7gHhf4VCKupcGWozZPL8zBUq69+DpdMJglfoeoWkhkt6tJwMbnE9W5hO4BcCB3OuNxdaR4fly6HDlrJBazT8SXVfv/e6+JxmuaW+lnlp37ljrA8A9h3a4eYt5G45LGUdro9TBmjmxqce5RUmx0Xo7fbUqTxM7T7YJfzstMXto4fEVemn8v3R6FXSEPe0C3bdbx3K+gwq4J/A+GyupNCdKG89/wA1VWK0ivLVo2CcyVlbtxUuBSmHFW5GxKTx0NZLLDagDmp2lbkSwz34pONDUrLAcFHJRBX0TZG2I9vMK8eRxZM4KSOPrNNcxxb9YciO5enDKpKzz542mVnU5byVqVk7aIZGEK1RLtERYSqtInliFDfxS80rYSDSvFT55XlEE2nEcFccxLxsrupSOSvemTRE+E93uVKSFQHUnuT3IKOuipiAF5kpps7FEFxIvxTSQm2V35E8bLVJIh2RmA99/JVuRG1mrp9HcDLh3Lnyzrob44X1Og0CkayYObziePxMXn6qblFWdmCCi3R47qotPUDuqJx+Ny8KXVn3+H/FD0X7FRSaG50K1MU1bBK42YXGOQngGvGNz4A4nyBWmKW2SOPX4XlwSiuvX6HSTP8A2brRkk7MMxe7I8BHMbuN/wDhkAv3DfmtX9zLb6M4Ir7Vodsfaj/H/P1Ip3P0nU3TuaXwTGUgt3yikcHuDeWTHW25i3ek/wAPJfZlRrW6VQTqUa/Tj9f3KnR7WqWm1SSdjneryCSMPe3ExiUseSRxxD22v3e9KE4xyWuhrqNPmy6RQa+9GuF3q1+x7JG8OAc0hwIBBBuCDwII4rtPmWmuGcD6Yp4hTwscR1vXZxgfXDA1we7vtu0edlz6hraj1vB4zeVtezXP8GL6QmH1DTTUFrqrg83Bc6ExuLiSOO/VXPC5KjN7Eb6nV4c19oy+XxD+b4/kD0glzqHSah+0/UjI8H7xscSfEOAP3kZfZi+4eHJefmxr2f8AtDeldoMlDMRZ8lKc/ulpH945LP1TH4Q/u5I9k/8Af+jhFgewbnQZ1tQoz/XW97HN/NXi9tHHr+dNP0/lHs80bTe69bHJpI+NnFNmRV6c0g2/zXVDKznljRRbSAbO/wA1q53yjPal1KlTRuB2O3JaQlFrkznFroBDTOvYEbq5SjRKi7NCjonE9ogD4rCc0lwbQg+5peqADa5WG+zbbQAjce8ItBTLGLse/ZTxZXNFSCm7W527iN1rKdLgzUeS9LpUTxuFis049zV4osq1fR+JwAx4dxsVpDVTT6mctPFroY0/Ryxu07b7Hc3XTHVX1Od6euhUp6E3IdcK55OOBRhzyXBStH+awc2zXYkVammbxGy0hNkSijIqI7c7rri7OeSImRDmm2JImMYUbmXSOjp5LgA+1cckdMWWmwMPJZ7mabURzadGeRHkrjlkiJY4sgj0sN3vffZW8zZCxUXo27LFs2SLulC0rfsv/I/kubUcxRti4bPG9bH+01P/AFNR/eOXiz9pn3en/wAUPRfsUVJqIoA62LpJBUUZpK4PL4mk0szBnJcCzWu+VzsRxsRdbeYpR2yPLlpMmLP5uDo+qOfn1eeSGOmfKXRRkOjYcSGEAgWdbKwBIAvYLNzbVNndHT445HkjGm+5RUmpao9VqIRjFPLEP4Y5Hsb/AOINlSlJdGZZMGOfMop/IrzzOe4ve5z3Hi57i9x83HdJuy4xUVUVSLWjzQNmidVNfLC09tjDuWgHEWJF23tcXG11UWr+90M80ZvHJYmlJ9/73+J2LWya3WNfgYqSCwOVhZl8i3b999gDbZoHv25yy+CPMe3QYGrucv79F+rMb0g642rqiYzeKJvUxkcHkEl7h4E7DvDQeajLPdLjsdXh2neHF97rLl/wcysjvNXoo/Gtoz/zUI97gPzVY/aRzaxXgn6M9lrZ7PcOG69nFG4nxE3TIuuBHFabWTaIH4u81atEOmTxRBS5FKJI2BncLqXOQ9qFJEEKQNCjKGCDzU0VZOx4U0VYMlimrE6IhcJ8CRYEmyiiyrKeatEMya2lN8mn2LohPjkxlHm0Zckxbs74LZRvoYuVdSvLVt32WixyJc0ZtQ8OOwXVCNLk5pSvoSw0bjvw8SolkSLjBsJ0HiVG4ujq3wC91wKR2OKIZZw1XGDkQ5JErQX2sbJcRK5kTR6ffcuKh5fcilj95abA0LJybNNqRNSMs9h8SPwu/RZZXwXBcni3SJtqqrH/ADVR/eOXkz9pn2+lf4EPRGcoNzoehDGulq2vdg12l1rXuDcyxp6u7sedgL2WuLq79zOHxBtQg0re+P8AJpQ6XTPp9PiZMJ2P1YxySCJ1M+zo2kx2dvwA3vzHcrUYuMVd8nPLNljkyylHa1C6u+/UgeYql9fT+qwQGGKqmpnQMMUg9XdbCY37eQ2JPA39i4k2qqv4LSnhjiyb3Lc0nfK+93XuojrRRGiZUijMb5JZoB1dRLjG5rAWvs64PHh4cUns23Q4faFnePzLSSfKXPwM7o3o7Kj1gv615iiY9sVKGGomu7E4B+1mjci19wphBSs31Woli21X3n1d0voTRaBC+WpaKnCKGnFQXuiL5GtON45IwQWvblYjw4cg9it88IzeqmoQey5SdVf6p+59iM9GZDMyOOWN7H03rjZ3XihFMNnSPDhdljtbfiPYeW7pMr7ZFQcpJpp7a6u/cGNJqmWiinY6Koa+z4Z8KafD6zHFxb2h/C4c+e6NslwnwxPPhl96cWpQ7Ncq+/oUtW0GppcTPF1YcSGnON4JAv8AuONtu9TKDj1NsOpxZvYd/UzVJuXNGfaopnd1VTn3SNKqHtIyzq8U/R/se4ahThznFexhnSPhckU2VmUHitnlM1jIp6Qs7XHyVxyKXBEoNchNqNktvI1LgAVRBsm4WLfQRqip2IrcD6xZPaLcIVBPBKkOyWNxSdDLDCoZSCe5SUAJbIoCJ811SiJspSvcTstYozkzNqqG5JLvcumGSuxzyhZT/Y7j9U3HjstvtCXUyeFvoQnTHtdYC/yVedFqyPKkmab6XFgufNc2+3wdG2kUHVLRstfLbM96Ox9UC83zD0Ng3qDObQU/NkheUmGKYDhsp8y+pWyug+CVhRG+6rgQDKotnpo8CWvfLd+2LHNjcWtI43d2iDw7B7wscvQuB5P0spy2rqydj61UHE8erJDmv8jc+4d68zJHln2Gjyp48cfh+pjLI7ielq3xFxjcWF0b4n2sco3izm7jmmm10InjjOlJXTv5oduoSCJsIdZraj1lttnNmxDcg7jwAT3OqJeKLm5tctV8jVqelMr2TN6qBkkzDHUTRx4zTMP1gd7DLmQN1Tytp8dTnhooRlF7m1HlJvhGfLqRNKylxFm1D5w++5yYG4428L3up3fd2myw1meW+qqgtGqoWGQSiQZBnVzU5AqaaRrr5RkkbEEtcLjZOLS6izwnKnCuOqfR+v8ABvu6VsE1RMwvDjpYpI5JmMfJPUMILZJWi7d/G/1Rda+arb+Bw/YZeXGMq9u2l2T7Io6brzpZphVykNmopKLMMaGwAkOjODAOyC3cAfvKFO29z6qjfLpVjhHyY8xkpV7yLVmxxUDaUTw1Mjqx1S71dxliiYIeqAzIHaJsbIlShtu2Vhc56jzNrilGueG+bB6ava6skkaQ4OipXXbYg/QR8wjL7QaBNYUn2b/cw1mdhLSvxfG7ukY73OBTXVEZFcJL4P8AY+galvaK9WD4Ph5EF1RI7zfZNMGiA0QPgtPMM/LK02m34EhaRzL3ESxEPquPF103NMShRXlKpEjxSclLRaLLZQFBQIqVW0W4NkhKloaZajChlB9SErHRDPSjktIzIlAoVEZHAH2braLsykin1kpNgw/JbbY9WzLdLsixFA4fWO6ylJdi1F9yvWMIabn3K8fXgmfQwZBvsu5HIz0YFeAe0NkgB7oAYhADEJgU62hbJ1bjs6KQTQuFwY5Q1zQ6wIyFnuBadiCk+RLgxOk/RcVrjPA8U9V1fVzxlzmsmj4blu5HLKxBAAIBG3HkxP0Z6ui10cS2zjuj+zOQm6A6g3hAH/Yli/xOC5/JmezHxPTP81fJlSTofqA40snsLH/yuKXlT9xotfpn+dfr/oqzaDWN40s/shkd8gl5cvcaR1WCXSa+q/kqSUcrfrRSN+0x7fmFO1+40WXG+kk/miu5wHHbz2SL69B2SWN7Nd4O3HwKaZM4tqlwMB/rj8eaGOKdcj2SGMmA1kAJAC8bi97AfvHxTIcuaPoaoduL/wAIuvTgfET6kFwtCB8gkAjIgLAdIqQiFzQVd0JoTqdvcjzGLYisaVvLZVvbFsQRpUbg2gGlT3i2iEdkWCRI0lLgZK2UhKh2GJQltYWA+YK1FktoqTTjkVqombkZ8tWfNaxx2ZSyUZ1ZOSunHBI55zbKRW5kegL52z3QSUxCD0APmgViyQKxXToAXxh1rgG2472nvB4g+ISaAbq7fvSf/rL/AOynaitw5c8cJXj2td/MCjZENzGE8n/3OPm2M/JgS2INzJW1cv8AG0+bD+TglsHuPKNX9Nj4aiop30Ec3VTzQ5dYWZ9W8tvYsda9uFyo2lqTJI/SfHILzaA4t72sbM23f2oQpe3vRpHLlXST+rOj6J1mm6lFJNFprIwyUxPa5scb8w1rjbHl2u/kUeUn2RotbnX/ALH9TRn6M6a7jRSN+xKWj8MqTwJ9jSPieoj+f6pMqv6G6Yf3aiPyc5/5OS+zr3Gi8W1Hdp/IrSdAqA/VqKln2mXb7zEPmpenXxNV4xl7pP6/7Ksvo9pj9TUWt/tGsJ/napen+JovGZd4L6lrQugVPDK2aaqbUhjg9kcbQ1pcNwXdt1xw224b7bJwwU/eZ6jxRzi1GO2+939DrZqrIk/6su2MaR4zdkPWqqJC6xFAJr0UBIEUA4RQCcU0hWRtAVBY7noSEA6VPawsDigA8gEVYhjImoisF8osrUSWyjUTkcFvCBjKZQJcVvUUY3JkEzCFcSJJorOC1IALE7FR3OS+dPcGcU0AwKYgkAOgKGKdioEOSCgXSICgDIgAesQAusQB5xoegwisragsDpHVlS4OcLlgMjvq93muTK3bRtBHWzR34+HzXJJcm6IujLRG6qDRa8rXG21ziBc+xo9y7tM/unPl6my6VdBlYwemILJAAOeU0gGbdVSESgFIZK2MoAMxoARICaTZO4XWqthO8DrUbUCY+aEgEEUMA3VJIlsjLbKqJsDrE9otwXWooe4LNKmO0RylXFESaK72DvutUzNogcHE2CtV1M+egvUSee6PNSDyrB/ZbjwT8+IeSyQaT3lQ9QV5DNcOXlnpBBADoAfJADF6ABLkwBLkAA5yBAuKYiO6QCyToRzOnM+nqP8AqJfi4n81x5vaZvDoa8g4rma5NUVdMNpJ/wDsn+f9F3aVWmc+Z9DRyXZtMbJWNKTGmSgKRk0cN0ASdShAE2NArHIT4FyCQmmJoiIT3BtFiUbg20A6Mqk0S7Dij70Ngi0xoWTZokLEI3BtI3xAqlMlxK8lKeRW0ciMpQZXfAQtFNMzcWgQ08h7t1XHcXIYpnO8EnOMR7HIcaeRul5yY/JaCdTDmVPmDeMYBo4IbbGkkP1iVDAMxSoLJRIuI6whIgBzImAJlQAPWpgN1iBD5oARKYhkCHxToAhGnYHMU/Zqqlv9d8w0/muLL7TNodDVl/L/AF+a52aor6VGTLNb+GL5yfquzSOrMMyujcjpe9de4won6pFhTIzEjgLYYNtlLLDLlNhQAciwCBRYBtSsB9kAPsgfAYsi2AElk0xcEbQm2AVkWA4aiwoRajcKhFrUbmg2oHJo4KrbBJIjfUdyEgbAM6tQIchnMJVJpEtNlWSIhappmTTRBI8haKKZDk0QGUqtiJ3n/9k="/>
          <p:cNvSpPr>
            <a:spLocks noChangeAspect="1" noChangeArrowheads="1"/>
          </p:cNvSpPr>
          <p:nvPr/>
        </p:nvSpPr>
        <p:spPr bwMode="auto">
          <a:xfrm>
            <a:off x="1710596" y="4813"/>
            <a:ext cx="184831" cy="184832"/>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55449" tIns="27725" rIns="55449" bIns="27725" numCol="1" anchor="t" anchorCtr="0" compatLnSpc="1">
            <a:prstTxWarp prst="textNoShape">
              <a:avLst/>
            </a:prstTxWarp>
          </a:bodyPr>
          <a:lstStyle/>
          <a:p>
            <a:endParaRPr lang="en-ZA" sz="1092"/>
          </a:p>
        </p:txBody>
      </p:sp>
      <p:sp>
        <p:nvSpPr>
          <p:cNvPr id="10" name="Subtitle 2">
            <a:extLst>
              <a:ext uri="{FF2B5EF4-FFF2-40B4-BE49-F238E27FC236}">
                <a16:creationId xmlns:a16="http://schemas.microsoft.com/office/drawing/2014/main" xmlns="" id="{6391C90E-C401-46DB-A0D4-589A4064F2B9}"/>
              </a:ext>
            </a:extLst>
          </p:cNvPr>
          <p:cNvSpPr txBox="1">
            <a:spLocks noGrp="1"/>
          </p:cNvSpPr>
          <p:nvPr>
            <p:ph type="body" sz="quarter" idx="13"/>
          </p:nvPr>
        </p:nvSpPr>
        <p:spPr>
          <a:xfrm>
            <a:off x="457200" y="1129789"/>
            <a:ext cx="2079349" cy="1673109"/>
          </a:xfrm>
          <a:prstGeom prst="rect">
            <a:avLst/>
          </a:prstGeom>
        </p:spPr>
        <p:txBody>
          <a:bodyPr vert="horz" wrap="square" lIns="55449" tIns="27725" rIns="55449" bIns="27725"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07935" indent="-207935" algn="l">
              <a:lnSpc>
                <a:spcPct val="110000"/>
              </a:lnSpc>
              <a:buFont typeface="Arial" panose="020B0604020202020204" pitchFamily="34" charset="0"/>
              <a:buChar char="•"/>
            </a:pPr>
            <a:r>
              <a:rPr lang="en-US" sz="1400" b="0" i="0" dirty="0"/>
              <a:t>309 291 total users on the network during </a:t>
            </a:r>
            <a:r>
              <a:rPr lang="en-US" sz="1400" i="0" dirty="0"/>
              <a:t>April 2022</a:t>
            </a:r>
            <a:r>
              <a:rPr lang="en-US" sz="1400" b="0" i="0" dirty="0"/>
              <a:t>.</a:t>
            </a:r>
          </a:p>
        </p:txBody>
      </p:sp>
      <p:sp>
        <p:nvSpPr>
          <p:cNvPr id="7" name="Rectangle 6">
            <a:extLst>
              <a:ext uri="{FF2B5EF4-FFF2-40B4-BE49-F238E27FC236}">
                <a16:creationId xmlns:a16="http://schemas.microsoft.com/office/drawing/2014/main" xmlns="" id="{85719E8A-483C-4BB2-B1E4-66B1E2C55B03}"/>
              </a:ext>
            </a:extLst>
          </p:cNvPr>
          <p:cNvSpPr/>
          <p:nvPr/>
        </p:nvSpPr>
        <p:spPr>
          <a:xfrm>
            <a:off x="4293898" y="3948572"/>
            <a:ext cx="1432440" cy="2198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728" dirty="0" err="1"/>
          </a:p>
        </p:txBody>
      </p:sp>
      <p:graphicFrame>
        <p:nvGraphicFramePr>
          <p:cNvPr id="15" name="Chart 14">
            <a:extLst>
              <a:ext uri="{FF2B5EF4-FFF2-40B4-BE49-F238E27FC236}">
                <a16:creationId xmlns:a16="http://schemas.microsoft.com/office/drawing/2014/main" xmlns="" id="{D015516F-76DE-4260-A1E6-F4D25E6DAEF5}"/>
              </a:ext>
            </a:extLst>
          </p:cNvPr>
          <p:cNvGraphicFramePr>
            <a:graphicFrameLocks/>
          </p:cNvGraphicFramePr>
          <p:nvPr>
            <p:extLst>
              <p:ext uri="{D42A27DB-BD31-4B8C-83A1-F6EECF244321}">
                <p14:modId xmlns:p14="http://schemas.microsoft.com/office/powerpoint/2010/main" xmlns="" val="2289449180"/>
              </p:ext>
            </p:extLst>
          </p:nvPr>
        </p:nvGraphicFramePr>
        <p:xfrm>
          <a:off x="2283847" y="-190792"/>
          <a:ext cx="8886927" cy="40978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a:extLst>
              <a:ext uri="{FF2B5EF4-FFF2-40B4-BE49-F238E27FC236}">
                <a16:creationId xmlns:a16="http://schemas.microsoft.com/office/drawing/2014/main" xmlns="" id="{A8527D45-3A3D-4F37-8CB6-FB37F135E358}"/>
              </a:ext>
            </a:extLst>
          </p:cNvPr>
          <p:cNvGraphicFramePr>
            <a:graphicFrameLocks/>
          </p:cNvGraphicFramePr>
          <p:nvPr>
            <p:extLst>
              <p:ext uri="{D42A27DB-BD31-4B8C-83A1-F6EECF244321}">
                <p14:modId xmlns:p14="http://schemas.microsoft.com/office/powerpoint/2010/main" xmlns="" val="3861953126"/>
              </p:ext>
            </p:extLst>
          </p:nvPr>
        </p:nvGraphicFramePr>
        <p:xfrm>
          <a:off x="2495000" y="3495409"/>
          <a:ext cx="9064194" cy="32701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5958161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83650"/>
            <a:ext cx="8597506" cy="517915"/>
          </a:xfrm>
        </p:spPr>
        <p:txBody>
          <a:bodyPr>
            <a:normAutofit/>
          </a:bodyPr>
          <a:lstStyle/>
          <a:p>
            <a:r>
              <a:rPr lang="en-US" sz="2062" dirty="0">
                <a:solidFill>
                  <a:srgbClr val="001489"/>
                </a:solidFill>
                <a:latin typeface="Century Gothic" panose="020B0502020202020204" pitchFamily="34" charset="0"/>
              </a:rPr>
              <a:t>WCG Public Wi-Fi Project Usage Overview</a:t>
            </a:r>
            <a:endParaRPr lang="en-US" sz="2062" dirty="0">
              <a:solidFill>
                <a:srgbClr val="001489"/>
              </a:solidFill>
            </a:endParaRPr>
          </a:p>
        </p:txBody>
      </p:sp>
      <p:sp>
        <p:nvSpPr>
          <p:cNvPr id="4" name="Slide Number Placeholder 3"/>
          <p:cNvSpPr>
            <a:spLocks noGrp="1"/>
          </p:cNvSpPr>
          <p:nvPr>
            <p:ph type="sldNum" sz="quarter" idx="4"/>
          </p:nvPr>
        </p:nvSpPr>
        <p:spPr/>
        <p:txBody>
          <a:bodyPr/>
          <a:lstStyle/>
          <a:p>
            <a:fld id="{8406839F-D7A4-4E5D-B93D-768AD4D1DB36}" type="slidenum">
              <a:rPr lang="en-ZA" smtClean="0"/>
              <a:pPr/>
              <a:t>9</a:t>
            </a:fld>
            <a:endParaRPr lang="en-ZA"/>
          </a:p>
        </p:txBody>
      </p:sp>
      <p:sp>
        <p:nvSpPr>
          <p:cNvPr id="3" name="Rectangle 2">
            <a:extLst>
              <a:ext uri="{FF2B5EF4-FFF2-40B4-BE49-F238E27FC236}">
                <a16:creationId xmlns:a16="http://schemas.microsoft.com/office/drawing/2014/main" xmlns="" id="{2DDF1884-0A8B-4DF1-AE96-9E6AF3ACEF6C}"/>
              </a:ext>
            </a:extLst>
          </p:cNvPr>
          <p:cNvSpPr/>
          <p:nvPr/>
        </p:nvSpPr>
        <p:spPr>
          <a:xfrm>
            <a:off x="1629113" y="5508568"/>
            <a:ext cx="1342048" cy="4622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sp>
        <p:nvSpPr>
          <p:cNvPr id="5" name="TextBox 4">
            <a:extLst>
              <a:ext uri="{FF2B5EF4-FFF2-40B4-BE49-F238E27FC236}">
                <a16:creationId xmlns:a16="http://schemas.microsoft.com/office/drawing/2014/main" xmlns="" id="{BA483106-504B-42F5-8C11-F76571DE4304}"/>
              </a:ext>
            </a:extLst>
          </p:cNvPr>
          <p:cNvSpPr txBox="1"/>
          <p:nvPr/>
        </p:nvSpPr>
        <p:spPr>
          <a:xfrm>
            <a:off x="4617352" y="1026197"/>
            <a:ext cx="5175268" cy="260392"/>
          </a:xfrm>
          <a:prstGeom prst="rect">
            <a:avLst/>
          </a:prstGeom>
          <a:noFill/>
        </p:spPr>
        <p:txBody>
          <a:bodyPr wrap="square" rtlCol="0">
            <a:spAutoFit/>
          </a:bodyPr>
          <a:lstStyle/>
          <a:p>
            <a:r>
              <a:rPr lang="en-US" sz="1092" b="1" dirty="0"/>
              <a:t>Top 10 </a:t>
            </a:r>
            <a:r>
              <a:rPr lang="en-US" sz="1092" b="1" dirty="0" err="1"/>
              <a:t>Utilised</a:t>
            </a:r>
            <a:r>
              <a:rPr lang="en-US" sz="1092" b="1" dirty="0"/>
              <a:t> WiFi Sites (GB)</a:t>
            </a:r>
            <a:endParaRPr lang="en-ZA" sz="1092" b="1" dirty="0"/>
          </a:p>
        </p:txBody>
      </p:sp>
      <p:graphicFrame>
        <p:nvGraphicFramePr>
          <p:cNvPr id="8" name="Chart 7">
            <a:extLst>
              <a:ext uri="{FF2B5EF4-FFF2-40B4-BE49-F238E27FC236}">
                <a16:creationId xmlns:a16="http://schemas.microsoft.com/office/drawing/2014/main" xmlns="" id="{E831201F-DE6B-4878-B103-EB9F08A9359F}"/>
              </a:ext>
            </a:extLst>
          </p:cNvPr>
          <p:cNvGraphicFramePr>
            <a:graphicFrameLocks/>
          </p:cNvGraphicFramePr>
          <p:nvPr>
            <p:extLst>
              <p:ext uri="{D42A27DB-BD31-4B8C-83A1-F6EECF244321}">
                <p14:modId xmlns:p14="http://schemas.microsoft.com/office/powerpoint/2010/main" xmlns="" val="2074230469"/>
              </p:ext>
            </p:extLst>
          </p:nvPr>
        </p:nvGraphicFramePr>
        <p:xfrm>
          <a:off x="533400" y="-31788"/>
          <a:ext cx="11103236" cy="422278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xmlns="" id="{24D5E8CD-6C4B-4E84-B7BC-AEE7F5499763}"/>
              </a:ext>
            </a:extLst>
          </p:cNvPr>
          <p:cNvGraphicFramePr>
            <a:graphicFrameLocks/>
          </p:cNvGraphicFramePr>
          <p:nvPr>
            <p:extLst>
              <p:ext uri="{D42A27DB-BD31-4B8C-83A1-F6EECF244321}">
                <p14:modId xmlns:p14="http://schemas.microsoft.com/office/powerpoint/2010/main" xmlns="" val="381932058"/>
              </p:ext>
            </p:extLst>
          </p:nvPr>
        </p:nvGraphicFramePr>
        <p:xfrm>
          <a:off x="1524000" y="3886200"/>
          <a:ext cx="9559592" cy="301672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xmlns="" id="{612CE315-6152-4CEB-BD69-CBB13855FDD7}"/>
              </a:ext>
            </a:extLst>
          </p:cNvPr>
          <p:cNvSpPr txBox="1"/>
          <p:nvPr/>
        </p:nvSpPr>
        <p:spPr>
          <a:xfrm>
            <a:off x="2039711" y="4777254"/>
            <a:ext cx="5175268" cy="260392"/>
          </a:xfrm>
          <a:prstGeom prst="rect">
            <a:avLst/>
          </a:prstGeom>
          <a:noFill/>
        </p:spPr>
        <p:txBody>
          <a:bodyPr wrap="square" rtlCol="0">
            <a:spAutoFit/>
          </a:bodyPr>
          <a:lstStyle/>
          <a:p>
            <a:r>
              <a:rPr lang="en-US" sz="1092" b="1" dirty="0"/>
              <a:t>Hourly Usage Trend (GB)</a:t>
            </a:r>
            <a:endParaRPr lang="en-ZA" sz="1092" b="1" dirty="0"/>
          </a:p>
        </p:txBody>
      </p:sp>
    </p:spTree>
    <p:extLst>
      <p:ext uri="{BB962C8B-B14F-4D97-AF65-F5344CB8AC3E}">
        <p14:creationId xmlns:p14="http://schemas.microsoft.com/office/powerpoint/2010/main" xmlns="" val="273894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2nQvVLSytUOtz_TnL.5_.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731</TotalTime>
  <Words>1696</Words>
  <Application>Microsoft Office PowerPoint</Application>
  <PresentationFormat>Custom</PresentationFormat>
  <Paragraphs>298</Paragraphs>
  <Slides>35</Slides>
  <Notes>12</Notes>
  <HiddenSlides>0</HiddenSlides>
  <MMClips>0</MMClips>
  <ScaleCrop>false</ScaleCrop>
  <HeadingPairs>
    <vt:vector size="4" baseType="variant">
      <vt:variant>
        <vt:lpstr>Theme</vt:lpstr>
      </vt:variant>
      <vt:variant>
        <vt:i4>4</vt:i4>
      </vt:variant>
      <vt:variant>
        <vt:lpstr>Slide Titles</vt:lpstr>
      </vt:variant>
      <vt:variant>
        <vt:i4>35</vt:i4>
      </vt:variant>
    </vt:vector>
  </HeadingPairs>
  <TitlesOfParts>
    <vt:vector size="39" baseType="lpstr">
      <vt:lpstr>Office Theme</vt:lpstr>
      <vt:lpstr>WCG-PPT Master-121022-amc</vt:lpstr>
      <vt:lpstr>1_WCG-PPT Master-121022-amc</vt:lpstr>
      <vt:lpstr>1_Office Theme</vt:lpstr>
      <vt:lpstr>Slide 1</vt:lpstr>
      <vt:lpstr>BROADBAND UPDATE</vt:lpstr>
      <vt:lpstr>Broadband Fundamentals</vt:lpstr>
      <vt:lpstr>Broadband 1.0 Programme Goals</vt:lpstr>
      <vt:lpstr>Broadband Business Value</vt:lpstr>
      <vt:lpstr>Status of Sites Connected to Broadband</vt:lpstr>
      <vt:lpstr>Public Wi-Fi Hotspots</vt:lpstr>
      <vt:lpstr>WCG Public Wi-Fi Project Usage Overview</vt:lpstr>
      <vt:lpstr>WCG Public Wi-Fi Project Usage Overview</vt:lpstr>
      <vt:lpstr> information security operations </vt:lpstr>
      <vt:lpstr>Major threats to Business Continuity and Service Delivery to our Citizens</vt:lpstr>
      <vt:lpstr>Recent South African Cyber Attacks</vt:lpstr>
      <vt:lpstr>Information Threats and Risks Domain</vt:lpstr>
      <vt:lpstr>Attacks seen on the network</vt:lpstr>
      <vt:lpstr>Slide 15</vt:lpstr>
      <vt:lpstr>What is Your Overall Maturity?</vt:lpstr>
      <vt:lpstr>How Mature Are Your Functional Activities?</vt:lpstr>
      <vt:lpstr>High Priority Area: Develop Strategy</vt:lpstr>
      <vt:lpstr>Slide 19</vt:lpstr>
      <vt:lpstr>Network Scan (Risk Recon)</vt:lpstr>
      <vt:lpstr>Slide 21</vt:lpstr>
      <vt:lpstr>Slide 22</vt:lpstr>
      <vt:lpstr>“Catching the big fish: Analyzing a large-scale Phishing-as-a-Service  operation”</vt:lpstr>
      <vt:lpstr>Results of a recent security awareness poll </vt:lpstr>
      <vt:lpstr>Overall Phish-prone for the last three tests</vt:lpstr>
      <vt:lpstr>Slide 26</vt:lpstr>
      <vt:lpstr>Key WFH/Endpoint risk areas and mitigation actions</vt:lpstr>
      <vt:lpstr>Slide 28</vt:lpstr>
      <vt:lpstr> NEW look ! Emailer and Theme for May 2022 </vt:lpstr>
      <vt:lpstr> Spear Phishing – 30/05/2022 – 30/06/2022</vt:lpstr>
      <vt:lpstr>Upcoming themes</vt:lpstr>
      <vt:lpstr>Slide 32</vt:lpstr>
      <vt:lpstr>Recommended actions</vt:lpstr>
      <vt:lpstr>Conclusion</vt:lpstr>
      <vt:lpstr>Slide 3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79</cp:revision>
  <cp:lastPrinted>2022-06-02T06:16:13Z</cp:lastPrinted>
  <dcterms:created xsi:type="dcterms:W3CDTF">2021-11-23T12:49:21Z</dcterms:created>
  <dcterms:modified xsi:type="dcterms:W3CDTF">2022-06-03T07:4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11-23T00:00:00Z</vt:filetime>
  </property>
  <property fmtid="{D5CDD505-2E9C-101B-9397-08002B2CF9AE}" pid="3" name="Creator">
    <vt:lpwstr>Microsoft® PowerPoint® for Office 365</vt:lpwstr>
  </property>
  <property fmtid="{D5CDD505-2E9C-101B-9397-08002B2CF9AE}" pid="4" name="LastSaved">
    <vt:filetime>2021-11-23T00:00:00Z</vt:filetime>
  </property>
</Properties>
</file>